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Lst>
  <p:notesMasterIdLst>
    <p:notesMasterId r:id="rId21"/>
  </p:notesMasterIdLst>
  <p:handoutMasterIdLst>
    <p:handoutMasterId r:id="rId22"/>
  </p:handoutMasterIdLst>
  <p:sldIdLst>
    <p:sldId id="3947" r:id="rId5"/>
    <p:sldId id="2147375642" r:id="rId6"/>
    <p:sldId id="2147375402" r:id="rId7"/>
    <p:sldId id="2147375403" r:id="rId8"/>
    <p:sldId id="2147375643" r:id="rId9"/>
    <p:sldId id="2147375652" r:id="rId10"/>
    <p:sldId id="2147375654" r:id="rId11"/>
    <p:sldId id="2147375658" r:id="rId12"/>
    <p:sldId id="2147375657" r:id="rId13"/>
    <p:sldId id="2147307451" r:id="rId14"/>
    <p:sldId id="2147375650" r:id="rId15"/>
    <p:sldId id="2147375651" r:id="rId16"/>
    <p:sldId id="2147375653" r:id="rId17"/>
    <p:sldId id="2147375649" r:id="rId18"/>
    <p:sldId id="2147375399" r:id="rId19"/>
    <p:sldId id="2147375398" r:id="rId20"/>
  </p:sldIdLst>
  <p:sldSz cx="9144000" cy="5143500" type="screen16x9"/>
  <p:notesSz cx="6670675" cy="9777413"/>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1" orient="horz" pos="962" userDrawn="1">
          <p15:clr>
            <a:srgbClr val="A4A3A4"/>
          </p15:clr>
        </p15:guide>
        <p15:guide id="2" pos="748" userDrawn="1">
          <p15:clr>
            <a:srgbClr val="A4A3A4"/>
          </p15:clr>
        </p15:guide>
        <p15:guide id="3" orient="horz" pos="225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rah McGugan" initials="ZM" lastIdx="2" clrIdx="0">
    <p:extLst>
      <p:ext uri="{19B8F6BF-5375-455C-9EA6-DF929625EA0E}">
        <p15:presenceInfo xmlns:p15="http://schemas.microsoft.com/office/powerpoint/2012/main" userId="S-1-5-21-4161563473-2938609101-4020916863-1246" providerId="AD"/>
      </p:ext>
    </p:extLst>
  </p:cmAuthor>
  <p:cmAuthor id="2" name="Ajwaliya, Nishit" initials="AN" lastIdx="1" clrIdx="1">
    <p:extLst>
      <p:ext uri="{19B8F6BF-5375-455C-9EA6-DF929625EA0E}">
        <p15:presenceInfo xmlns:p15="http://schemas.microsoft.com/office/powerpoint/2012/main" userId="S::Nishit.Ajwaliya@us.nationalgrid.com::d6171631-3d08-453d-8afd-2dc62a5026e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8DA70"/>
    <a:srgbClr val="B20E12"/>
    <a:srgbClr val="B2DE82"/>
    <a:srgbClr val="C9E8A6"/>
    <a:srgbClr val="7FFFF8"/>
    <a:srgbClr val="B4DF85"/>
    <a:srgbClr val="F9F9F9"/>
    <a:srgbClr val="E7F5D7"/>
    <a:srgbClr val="DAEFC3"/>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34A388-F8A8-ECCC-7F86-90B27A1A03F3}" v="913" dt="2021-10-06T14:37:06.723"/>
    <p1510:client id="{5D66200C-E0A8-4C83-A2B1-EE4C94FD5965}" v="1821" dt="2021-10-01T15:58:18.226"/>
    <p1510:client id="{5DEDD97E-77FF-B394-99EB-45EC9AB88778}" v="166" dt="2021-10-04T16:07:31.229"/>
    <p1510:client id="{C74D3255-DE28-E536-7889-9FF2485623F4}" v="396" dt="2021-10-01T02:28:12.194"/>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9" d="100"/>
          <a:sy n="79" d="100"/>
        </p:scale>
        <p:origin x="848" y="48"/>
      </p:cViewPr>
      <p:guideLst>
        <p:guide orient="horz" pos="962"/>
        <p:guide pos="748"/>
        <p:guide orient="horz" pos="225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waliya, Nishit" userId="d6171631-3d08-453d-8afd-2dc62a5026e2" providerId="ADAL" clId="{E79F5063-6BA6-486A-A99E-86057CF9B7F7}"/>
    <pc:docChg chg="undo custSel addSld delSld modSld sldOrd">
      <pc:chgData name="Ajwaliya, Nishit" userId="d6171631-3d08-453d-8afd-2dc62a5026e2" providerId="ADAL" clId="{E79F5063-6BA6-486A-A99E-86057CF9B7F7}" dt="2021-08-25T22:16:46.698" v="1136" actId="1036"/>
      <pc:docMkLst>
        <pc:docMk/>
      </pc:docMkLst>
      <pc:sldChg chg="modSp mod">
        <pc:chgData name="Ajwaliya, Nishit" userId="d6171631-3d08-453d-8afd-2dc62a5026e2" providerId="ADAL" clId="{E79F5063-6BA6-486A-A99E-86057CF9B7F7}" dt="2021-08-25T19:39:07.096" v="3" actId="20577"/>
        <pc:sldMkLst>
          <pc:docMk/>
          <pc:sldMk cId="136374311" sldId="3947"/>
        </pc:sldMkLst>
        <pc:spChg chg="mod">
          <ac:chgData name="Ajwaliya, Nishit" userId="d6171631-3d08-453d-8afd-2dc62a5026e2" providerId="ADAL" clId="{E79F5063-6BA6-486A-A99E-86057CF9B7F7}" dt="2021-08-25T19:39:07.096" v="3" actId="20577"/>
          <ac:spMkLst>
            <pc:docMk/>
            <pc:sldMk cId="136374311" sldId="3947"/>
            <ac:spMk id="3" creationId="{00000000-0000-0000-0000-000000000000}"/>
          </ac:spMkLst>
        </pc:spChg>
      </pc:sldChg>
      <pc:sldChg chg="add del">
        <pc:chgData name="Ajwaliya, Nishit" userId="d6171631-3d08-453d-8afd-2dc62a5026e2" providerId="ADAL" clId="{E79F5063-6BA6-486A-A99E-86057CF9B7F7}" dt="2021-08-25T19:38:47.773" v="1"/>
        <pc:sldMkLst>
          <pc:docMk/>
          <pc:sldMk cId="1537602166" sldId="2147375398"/>
        </pc:sldMkLst>
      </pc:sldChg>
      <pc:sldChg chg="add del">
        <pc:chgData name="Ajwaliya, Nishit" userId="d6171631-3d08-453d-8afd-2dc62a5026e2" providerId="ADAL" clId="{E79F5063-6BA6-486A-A99E-86057CF9B7F7}" dt="2021-08-25T19:38:47.773" v="1"/>
        <pc:sldMkLst>
          <pc:docMk/>
          <pc:sldMk cId="1534130096" sldId="2147375399"/>
        </pc:sldMkLst>
      </pc:sldChg>
      <pc:sldChg chg="add del">
        <pc:chgData name="Ajwaliya, Nishit" userId="d6171631-3d08-453d-8afd-2dc62a5026e2" providerId="ADAL" clId="{E79F5063-6BA6-486A-A99E-86057CF9B7F7}" dt="2021-08-25T19:38:47.773" v="1"/>
        <pc:sldMkLst>
          <pc:docMk/>
          <pc:sldMk cId="2550631324" sldId="2147375402"/>
        </pc:sldMkLst>
      </pc:sldChg>
      <pc:sldChg chg="add del">
        <pc:chgData name="Ajwaliya, Nishit" userId="d6171631-3d08-453d-8afd-2dc62a5026e2" providerId="ADAL" clId="{E79F5063-6BA6-486A-A99E-86057CF9B7F7}" dt="2021-08-25T19:38:47.773" v="1"/>
        <pc:sldMkLst>
          <pc:docMk/>
          <pc:sldMk cId="2625256309" sldId="2147375403"/>
        </pc:sldMkLst>
      </pc:sldChg>
      <pc:sldChg chg="addSp delSp modSp add del mod">
        <pc:chgData name="Ajwaliya, Nishit" userId="d6171631-3d08-453d-8afd-2dc62a5026e2" providerId="ADAL" clId="{E79F5063-6BA6-486A-A99E-86057CF9B7F7}" dt="2021-08-25T22:16:46.698" v="1136" actId="1036"/>
        <pc:sldMkLst>
          <pc:docMk/>
          <pc:sldMk cId="1536676795" sldId="2147375642"/>
        </pc:sldMkLst>
        <pc:spChg chg="add del mod">
          <ac:chgData name="Ajwaliya, Nishit" userId="d6171631-3d08-453d-8afd-2dc62a5026e2" providerId="ADAL" clId="{E79F5063-6BA6-486A-A99E-86057CF9B7F7}" dt="2021-08-25T22:16:43.958" v="1131" actId="478"/>
          <ac:spMkLst>
            <pc:docMk/>
            <pc:sldMk cId="1536676795" sldId="2147375642"/>
            <ac:spMk id="6" creationId="{4EF86645-E9B9-47F9-824C-F2CE0D144DA1}"/>
          </ac:spMkLst>
        </pc:spChg>
        <pc:graphicFrameChg chg="del">
          <ac:chgData name="Ajwaliya, Nishit" userId="d6171631-3d08-453d-8afd-2dc62a5026e2" providerId="ADAL" clId="{E79F5063-6BA6-486A-A99E-86057CF9B7F7}" dt="2021-08-25T22:16:40.885" v="1130" actId="478"/>
          <ac:graphicFrameMkLst>
            <pc:docMk/>
            <pc:sldMk cId="1536676795" sldId="2147375642"/>
            <ac:graphicFrameMk id="2" creationId="{59907ED8-794C-4E83-8AB7-EC88DD68083F}"/>
          </ac:graphicFrameMkLst>
        </pc:graphicFrameChg>
        <pc:graphicFrameChg chg="add mod">
          <ac:chgData name="Ajwaliya, Nishit" userId="d6171631-3d08-453d-8afd-2dc62a5026e2" providerId="ADAL" clId="{E79F5063-6BA6-486A-A99E-86057CF9B7F7}" dt="2021-08-25T22:16:46.698" v="1136" actId="1036"/>
          <ac:graphicFrameMkLst>
            <pc:docMk/>
            <pc:sldMk cId="1536676795" sldId="2147375642"/>
            <ac:graphicFrameMk id="7" creationId="{0F42F025-8686-4071-AC20-F35034ECF428}"/>
          </ac:graphicFrameMkLst>
        </pc:graphicFrameChg>
      </pc:sldChg>
      <pc:sldChg chg="add del">
        <pc:chgData name="Ajwaliya, Nishit" userId="d6171631-3d08-453d-8afd-2dc62a5026e2" providerId="ADAL" clId="{E79F5063-6BA6-486A-A99E-86057CF9B7F7}" dt="2021-08-25T19:38:47.773" v="1"/>
        <pc:sldMkLst>
          <pc:docMk/>
          <pc:sldMk cId="3248382154" sldId="2147375643"/>
        </pc:sldMkLst>
      </pc:sldChg>
      <pc:sldChg chg="modSp add del mod ord">
        <pc:chgData name="Ajwaliya, Nishit" userId="d6171631-3d08-453d-8afd-2dc62a5026e2" providerId="ADAL" clId="{E79F5063-6BA6-486A-A99E-86057CF9B7F7}" dt="2021-08-25T20:28:17.174" v="1092"/>
        <pc:sldMkLst>
          <pc:docMk/>
          <pc:sldMk cId="719968230" sldId="2147375644"/>
        </pc:sldMkLst>
        <pc:graphicFrameChg chg="mod modGraphic">
          <ac:chgData name="Ajwaliya, Nishit" userId="d6171631-3d08-453d-8afd-2dc62a5026e2" providerId="ADAL" clId="{E79F5063-6BA6-486A-A99E-86057CF9B7F7}" dt="2021-08-25T20:21:02.883" v="1014" actId="21"/>
          <ac:graphicFrameMkLst>
            <pc:docMk/>
            <pc:sldMk cId="719968230" sldId="2147375644"/>
            <ac:graphicFrameMk id="2" creationId="{59907ED8-794C-4E83-8AB7-EC88DD68083F}"/>
          </ac:graphicFrameMkLst>
        </pc:graphicFrameChg>
      </pc:sldChg>
      <pc:sldChg chg="del">
        <pc:chgData name="Ajwaliya, Nishit" userId="d6171631-3d08-453d-8afd-2dc62a5026e2" providerId="ADAL" clId="{E79F5063-6BA6-486A-A99E-86057CF9B7F7}" dt="2021-08-25T19:38:47.140" v="0" actId="47"/>
        <pc:sldMkLst>
          <pc:docMk/>
          <pc:sldMk cId="1158127309" sldId="2147375645"/>
        </pc:sldMkLst>
      </pc:sldChg>
      <pc:sldChg chg="modSp add mod ord">
        <pc:chgData name="Ajwaliya, Nishit" userId="d6171631-3d08-453d-8afd-2dc62a5026e2" providerId="ADAL" clId="{E79F5063-6BA6-486A-A99E-86057CF9B7F7}" dt="2021-08-25T20:21:54.643" v="1024"/>
        <pc:sldMkLst>
          <pc:docMk/>
          <pc:sldMk cId="188009781" sldId="2147375647"/>
        </pc:sldMkLst>
        <pc:graphicFrameChg chg="mod modGraphic">
          <ac:chgData name="Ajwaliya, Nishit" userId="d6171631-3d08-453d-8afd-2dc62a5026e2" providerId="ADAL" clId="{E79F5063-6BA6-486A-A99E-86057CF9B7F7}" dt="2021-08-25T19:48:51.038" v="7"/>
          <ac:graphicFrameMkLst>
            <pc:docMk/>
            <pc:sldMk cId="188009781" sldId="2147375647"/>
            <ac:graphicFrameMk id="4" creationId="{DB7E4C9C-28D7-4695-B220-C1F3D299A506}"/>
          </ac:graphicFrameMkLst>
        </pc:graphicFrameChg>
      </pc:sldChg>
      <pc:sldChg chg="add">
        <pc:chgData name="Ajwaliya, Nishit" userId="d6171631-3d08-453d-8afd-2dc62a5026e2" providerId="ADAL" clId="{E79F5063-6BA6-486A-A99E-86057CF9B7F7}" dt="2021-08-25T19:38:47.773" v="1"/>
        <pc:sldMkLst>
          <pc:docMk/>
          <pc:sldMk cId="1493052834" sldId="2147375649"/>
        </pc:sldMkLst>
      </pc:sldChg>
      <pc:sldChg chg="modSp add mod ord addCm delCm">
        <pc:chgData name="Ajwaliya, Nishit" userId="d6171631-3d08-453d-8afd-2dc62a5026e2" providerId="ADAL" clId="{E79F5063-6BA6-486A-A99E-86057CF9B7F7}" dt="2021-08-25T20:29:18.683" v="1096" actId="207"/>
        <pc:sldMkLst>
          <pc:docMk/>
          <pc:sldMk cId="2549472653" sldId="2147375650"/>
        </pc:sldMkLst>
        <pc:graphicFrameChg chg="mod modGraphic">
          <ac:chgData name="Ajwaliya, Nishit" userId="d6171631-3d08-453d-8afd-2dc62a5026e2" providerId="ADAL" clId="{E79F5063-6BA6-486A-A99E-86057CF9B7F7}" dt="2021-08-25T20:29:18.683" v="1096" actId="207"/>
          <ac:graphicFrameMkLst>
            <pc:docMk/>
            <pc:sldMk cId="2549472653" sldId="2147375650"/>
            <ac:graphicFrameMk id="4" creationId="{DB7E4C9C-28D7-4695-B220-C1F3D299A506}"/>
          </ac:graphicFrameMkLst>
        </pc:graphicFrameChg>
      </pc:sldChg>
      <pc:sldChg chg="modSp add mod">
        <pc:chgData name="Ajwaliya, Nishit" userId="d6171631-3d08-453d-8afd-2dc62a5026e2" providerId="ADAL" clId="{E79F5063-6BA6-486A-A99E-86057CF9B7F7}" dt="2021-08-25T20:29:06.512" v="1095" actId="20577"/>
        <pc:sldMkLst>
          <pc:docMk/>
          <pc:sldMk cId="3144636262" sldId="2147375651"/>
        </pc:sldMkLst>
        <pc:graphicFrameChg chg="mod modGraphic">
          <ac:chgData name="Ajwaliya, Nishit" userId="d6171631-3d08-453d-8afd-2dc62a5026e2" providerId="ADAL" clId="{E79F5063-6BA6-486A-A99E-86057CF9B7F7}" dt="2021-08-25T20:29:06.512" v="1095" actId="20577"/>
          <ac:graphicFrameMkLst>
            <pc:docMk/>
            <pc:sldMk cId="3144636262" sldId="2147375651"/>
            <ac:graphicFrameMk id="4" creationId="{DB7E4C9C-28D7-4695-B220-C1F3D299A506}"/>
          </ac:graphicFrameMkLst>
        </pc:graphicFrameChg>
      </pc:sldChg>
      <pc:sldChg chg="addSp delSp modSp new mod">
        <pc:chgData name="Ajwaliya, Nishit" userId="d6171631-3d08-453d-8afd-2dc62a5026e2" providerId="ADAL" clId="{E79F5063-6BA6-486A-A99E-86057CF9B7F7}" dt="2021-08-25T22:06:45.559" v="1129" actId="22"/>
        <pc:sldMkLst>
          <pc:docMk/>
          <pc:sldMk cId="504449634" sldId="2147375652"/>
        </pc:sldMkLst>
        <pc:spChg chg="del mod">
          <ac:chgData name="Ajwaliya, Nishit" userId="d6171631-3d08-453d-8afd-2dc62a5026e2" providerId="ADAL" clId="{E79F5063-6BA6-486A-A99E-86057CF9B7F7}" dt="2021-08-25T20:29:34.851" v="1097" actId="478"/>
          <ac:spMkLst>
            <pc:docMk/>
            <pc:sldMk cId="504449634" sldId="2147375652"/>
            <ac:spMk id="2" creationId="{1356742D-FF56-402E-9B34-BA0FCC8B3495}"/>
          </ac:spMkLst>
        </pc:spChg>
        <pc:spChg chg="add del mod">
          <ac:chgData name="Ajwaliya, Nishit" userId="d6171631-3d08-453d-8afd-2dc62a5026e2" providerId="ADAL" clId="{E79F5063-6BA6-486A-A99E-86057CF9B7F7}" dt="2021-08-25T20:29:38.070" v="1098" actId="478"/>
          <ac:spMkLst>
            <pc:docMk/>
            <pc:sldMk cId="504449634" sldId="2147375652"/>
            <ac:spMk id="3" creationId="{05073025-F003-479A-AAF6-D9D659537B7E}"/>
          </ac:spMkLst>
        </pc:spChg>
        <pc:spChg chg="add mod">
          <ac:chgData name="Ajwaliya, Nishit" userId="d6171631-3d08-453d-8afd-2dc62a5026e2" providerId="ADAL" clId="{E79F5063-6BA6-486A-A99E-86057CF9B7F7}" dt="2021-08-25T20:29:54.106" v="1120" actId="20577"/>
          <ac:spMkLst>
            <pc:docMk/>
            <pc:sldMk cId="504449634" sldId="2147375652"/>
            <ac:spMk id="5" creationId="{063D42FF-A5ED-4690-B49C-C5F9A1E885B1}"/>
          </ac:spMkLst>
        </pc:spChg>
        <pc:graphicFrameChg chg="add del">
          <ac:chgData name="Ajwaliya, Nishit" userId="d6171631-3d08-453d-8afd-2dc62a5026e2" providerId="ADAL" clId="{E79F5063-6BA6-486A-A99E-86057CF9B7F7}" dt="2021-08-25T20:29:40.056" v="1100"/>
          <ac:graphicFrameMkLst>
            <pc:docMk/>
            <pc:sldMk cId="504449634" sldId="2147375652"/>
            <ac:graphicFrameMk id="4" creationId="{F1589413-0C21-4FAA-B4AF-66A58D323237}"/>
          </ac:graphicFrameMkLst>
        </pc:graphicFrameChg>
        <pc:picChg chg="add del mod">
          <ac:chgData name="Ajwaliya, Nishit" userId="d6171631-3d08-453d-8afd-2dc62a5026e2" providerId="ADAL" clId="{E79F5063-6BA6-486A-A99E-86057CF9B7F7}" dt="2021-08-25T22:05:49.753" v="1126" actId="478"/>
          <ac:picMkLst>
            <pc:docMk/>
            <pc:sldMk cId="504449634" sldId="2147375652"/>
            <ac:picMk id="7" creationId="{F855A714-B7B9-4742-A238-47C8A79298E3}"/>
          </ac:picMkLst>
        </pc:picChg>
        <pc:picChg chg="add del">
          <ac:chgData name="Ajwaliya, Nishit" userId="d6171631-3d08-453d-8afd-2dc62a5026e2" providerId="ADAL" clId="{E79F5063-6BA6-486A-A99E-86057CF9B7F7}" dt="2021-08-25T22:06:45.042" v="1128" actId="478"/>
          <ac:picMkLst>
            <pc:docMk/>
            <pc:sldMk cId="504449634" sldId="2147375652"/>
            <ac:picMk id="9" creationId="{4CCAE72E-10C4-4159-B2D8-58BB60C6FF59}"/>
          </ac:picMkLst>
        </pc:picChg>
        <pc:picChg chg="add">
          <ac:chgData name="Ajwaliya, Nishit" userId="d6171631-3d08-453d-8afd-2dc62a5026e2" providerId="ADAL" clId="{E79F5063-6BA6-486A-A99E-86057CF9B7F7}" dt="2021-08-25T22:06:45.559" v="1129" actId="22"/>
          <ac:picMkLst>
            <pc:docMk/>
            <pc:sldMk cId="504449634" sldId="2147375652"/>
            <ac:picMk id="11" creationId="{E0F682C6-734E-4D17-87E4-898D31F52E0A}"/>
          </ac:picMkLst>
        </pc:picChg>
      </pc:sldChg>
      <pc:sldChg chg="modSp add mod">
        <pc:chgData name="Ajwaliya, Nishit" userId="d6171631-3d08-453d-8afd-2dc62a5026e2" providerId="ADAL" clId="{E79F5063-6BA6-486A-A99E-86057CF9B7F7}" dt="2021-08-25T20:28:11.341" v="1090" actId="20577"/>
        <pc:sldMkLst>
          <pc:docMk/>
          <pc:sldMk cId="1324954533" sldId="2147375653"/>
        </pc:sldMkLst>
        <pc:spChg chg="mod">
          <ac:chgData name="Ajwaliya, Nishit" userId="d6171631-3d08-453d-8afd-2dc62a5026e2" providerId="ADAL" clId="{E79F5063-6BA6-486A-A99E-86057CF9B7F7}" dt="2021-08-25T20:28:11.341" v="1090" actId="20577"/>
          <ac:spMkLst>
            <pc:docMk/>
            <pc:sldMk cId="1324954533" sldId="2147375653"/>
            <ac:spMk id="8" creationId="{FDB4336B-3DBE-4F71-824A-3B9AD469878A}"/>
          </ac:spMkLst>
        </pc:spChg>
        <pc:graphicFrameChg chg="mod modGraphic">
          <ac:chgData name="Ajwaliya, Nishit" userId="d6171631-3d08-453d-8afd-2dc62a5026e2" providerId="ADAL" clId="{E79F5063-6BA6-486A-A99E-86057CF9B7F7}" dt="2021-08-25T20:27:33.585" v="1074"/>
          <ac:graphicFrameMkLst>
            <pc:docMk/>
            <pc:sldMk cId="1324954533" sldId="2147375653"/>
            <ac:graphicFrameMk id="2" creationId="{59907ED8-794C-4E83-8AB7-EC88DD68083F}"/>
          </ac:graphicFrameMkLst>
        </pc:graphicFrameChg>
      </pc:sldChg>
      <pc:sldMasterChg chg="delSldLayout">
        <pc:chgData name="Ajwaliya, Nishit" userId="d6171631-3d08-453d-8afd-2dc62a5026e2" providerId="ADAL" clId="{E79F5063-6BA6-486A-A99E-86057CF9B7F7}" dt="2021-08-25T19:38:47.140" v="0" actId="47"/>
        <pc:sldMasterMkLst>
          <pc:docMk/>
          <pc:sldMasterMk cId="0" sldId="2147483651"/>
        </pc:sldMasterMkLst>
        <pc:sldLayoutChg chg="del">
          <pc:chgData name="Ajwaliya, Nishit" userId="d6171631-3d08-453d-8afd-2dc62a5026e2" providerId="ADAL" clId="{E79F5063-6BA6-486A-A99E-86057CF9B7F7}" dt="2021-08-25T19:38:47.140" v="0" actId="47"/>
          <pc:sldLayoutMkLst>
            <pc:docMk/>
            <pc:sldMasterMk cId="0" sldId="2147483651"/>
            <pc:sldLayoutMk cId="3570038088" sldId="2147483820"/>
          </pc:sldLayoutMkLst>
        </pc:sldLayoutChg>
      </pc:sldMasterChg>
    </pc:docChg>
  </pc:docChgLst>
  <pc:docChgLst>
    <pc:chgData name="Nandikonda, Kiranmai" userId="S::kiranmai.nandikonda@us.nationalgrid.com::07981659-b187-493e-9e23-22b7c92723ee" providerId="AD" clId="Web-{90AAA73E-7FAE-CE15-9924-6D579F474BC6}"/>
    <pc:docChg chg="delSld modSld">
      <pc:chgData name="Nandikonda, Kiranmai" userId="S::kiranmai.nandikonda@us.nationalgrid.com::07981659-b187-493e-9e23-22b7c92723ee" providerId="AD" clId="Web-{90AAA73E-7FAE-CE15-9924-6D579F474BC6}" dt="2021-09-07T16:55:23.238" v="8"/>
      <pc:docMkLst>
        <pc:docMk/>
      </pc:docMkLst>
      <pc:sldChg chg="del">
        <pc:chgData name="Nandikonda, Kiranmai" userId="S::kiranmai.nandikonda@us.nationalgrid.com::07981659-b187-493e-9e23-22b7c92723ee" providerId="AD" clId="Web-{90AAA73E-7FAE-CE15-9924-6D579F474BC6}" dt="2021-09-07T16:55:23.238" v="8"/>
        <pc:sldMkLst>
          <pc:docMk/>
          <pc:sldMk cId="719968230" sldId="2147375644"/>
        </pc:sldMkLst>
      </pc:sldChg>
      <pc:sldChg chg="del">
        <pc:chgData name="Nandikonda, Kiranmai" userId="S::kiranmai.nandikonda@us.nationalgrid.com::07981659-b187-493e-9e23-22b7c92723ee" providerId="AD" clId="Web-{90AAA73E-7FAE-CE15-9924-6D579F474BC6}" dt="2021-09-07T16:55:20.707" v="7"/>
        <pc:sldMkLst>
          <pc:docMk/>
          <pc:sldMk cId="188009781" sldId="2147375647"/>
        </pc:sldMkLst>
      </pc:sldChg>
      <pc:sldChg chg="modSp">
        <pc:chgData name="Nandikonda, Kiranmai" userId="S::kiranmai.nandikonda@us.nationalgrid.com::07981659-b187-493e-9e23-22b7c92723ee" providerId="AD" clId="Web-{90AAA73E-7FAE-CE15-9924-6D579F474BC6}" dt="2021-09-07T16:54:38.831" v="6" actId="20577"/>
        <pc:sldMkLst>
          <pc:docMk/>
          <pc:sldMk cId="1493052834" sldId="2147375649"/>
        </pc:sldMkLst>
        <pc:spChg chg="mod">
          <ac:chgData name="Nandikonda, Kiranmai" userId="S::kiranmai.nandikonda@us.nationalgrid.com::07981659-b187-493e-9e23-22b7c92723ee" providerId="AD" clId="Web-{90AAA73E-7FAE-CE15-9924-6D579F474BC6}" dt="2021-09-07T16:54:34.378" v="5" actId="20577"/>
          <ac:spMkLst>
            <pc:docMk/>
            <pc:sldMk cId="1493052834" sldId="2147375649"/>
            <ac:spMk id="3" creationId="{CBF9CB65-45DF-7243-AB36-9EB53127C0EA}"/>
          </ac:spMkLst>
        </pc:spChg>
        <pc:spChg chg="mod">
          <ac:chgData name="Nandikonda, Kiranmai" userId="S::kiranmai.nandikonda@us.nationalgrid.com::07981659-b187-493e-9e23-22b7c92723ee" providerId="AD" clId="Web-{90AAA73E-7FAE-CE15-9924-6D579F474BC6}" dt="2021-09-07T16:54:38.831" v="6" actId="20577"/>
          <ac:spMkLst>
            <pc:docMk/>
            <pc:sldMk cId="1493052834" sldId="2147375649"/>
            <ac:spMk id="7" creationId="{CBD9E884-6EB9-A84A-98F5-4EF318028BEF}"/>
          </ac:spMkLst>
        </pc:spChg>
      </pc:sldChg>
    </pc:docChg>
  </pc:docChgLst>
  <pc:docChgLst>
    <pc:chgData name="Ajwaliya, Nishit" userId="S::nishit.ajwaliya@us.nationalgrid.com::d6171631-3d08-453d-8afd-2dc62a5026e2" providerId="AD" clId="Web-{3504758C-4C73-D6A7-08C8-244F0108EAFF}"/>
    <pc:docChg chg="modSld">
      <pc:chgData name="Ajwaliya, Nishit" userId="S::nishit.ajwaliya@us.nationalgrid.com::d6171631-3d08-453d-8afd-2dc62a5026e2" providerId="AD" clId="Web-{3504758C-4C73-D6A7-08C8-244F0108EAFF}" dt="2021-08-26T00:54:34.837" v="35"/>
      <pc:docMkLst>
        <pc:docMk/>
      </pc:docMkLst>
      <pc:sldChg chg="modSp">
        <pc:chgData name="Ajwaliya, Nishit" userId="S::nishit.ajwaliya@us.nationalgrid.com::d6171631-3d08-453d-8afd-2dc62a5026e2" providerId="AD" clId="Web-{3504758C-4C73-D6A7-08C8-244F0108EAFF}" dt="2021-08-26T00:54:34.837" v="35"/>
        <pc:sldMkLst>
          <pc:docMk/>
          <pc:sldMk cId="1536676795" sldId="2147375642"/>
        </pc:sldMkLst>
        <pc:graphicFrameChg chg="mod modGraphic">
          <ac:chgData name="Ajwaliya, Nishit" userId="S::nishit.ajwaliya@us.nationalgrid.com::d6171631-3d08-453d-8afd-2dc62a5026e2" providerId="AD" clId="Web-{3504758C-4C73-D6A7-08C8-244F0108EAFF}" dt="2021-08-26T00:54:34.837" v="35"/>
          <ac:graphicFrameMkLst>
            <pc:docMk/>
            <pc:sldMk cId="1536676795" sldId="2147375642"/>
            <ac:graphicFrameMk id="7" creationId="{0F42F025-8686-4071-AC20-F35034ECF428}"/>
          </ac:graphicFrameMkLst>
        </pc:graphicFrameChg>
      </pc:sldChg>
      <pc:sldChg chg="modSp">
        <pc:chgData name="Ajwaliya, Nishit" userId="S::nishit.ajwaliya@us.nationalgrid.com::d6171631-3d08-453d-8afd-2dc62a5026e2" providerId="AD" clId="Web-{3504758C-4C73-D6A7-08C8-244F0108EAFF}" dt="2021-08-26T00:53:49.976" v="1" actId="1076"/>
        <pc:sldMkLst>
          <pc:docMk/>
          <pc:sldMk cId="504449634" sldId="2147375652"/>
        </pc:sldMkLst>
        <pc:picChg chg="mod">
          <ac:chgData name="Ajwaliya, Nishit" userId="S::nishit.ajwaliya@us.nationalgrid.com::d6171631-3d08-453d-8afd-2dc62a5026e2" providerId="AD" clId="Web-{3504758C-4C73-D6A7-08C8-244F0108EAFF}" dt="2021-08-26T00:53:49.976" v="1" actId="1076"/>
          <ac:picMkLst>
            <pc:docMk/>
            <pc:sldMk cId="504449634" sldId="2147375652"/>
            <ac:picMk id="11" creationId="{E0F682C6-734E-4D17-87E4-898D31F52E0A}"/>
          </ac:picMkLst>
        </pc:picChg>
      </pc:sldChg>
    </pc:docChg>
  </pc:docChgLst>
  <pc:docChgLst>
    <pc:chgData name="Ajwaliya, Nishit" userId="S::nishit.ajwaliya@us.nationalgrid.com::d6171631-3d08-453d-8afd-2dc62a5026e2" providerId="AD" clId="Web-{F5CD94C5-66F2-7A5F-3C4A-5CFA73652C8A}"/>
    <pc:docChg chg="modSld">
      <pc:chgData name="Ajwaliya, Nishit" userId="S::nishit.ajwaliya@us.nationalgrid.com::d6171631-3d08-453d-8afd-2dc62a5026e2" providerId="AD" clId="Web-{F5CD94C5-66F2-7A5F-3C4A-5CFA73652C8A}" dt="2021-08-26T00:42:03.184" v="1" actId="1076"/>
      <pc:docMkLst>
        <pc:docMk/>
      </pc:docMkLst>
      <pc:sldChg chg="modSp">
        <pc:chgData name="Ajwaliya, Nishit" userId="S::nishit.ajwaliya@us.nationalgrid.com::d6171631-3d08-453d-8afd-2dc62a5026e2" providerId="AD" clId="Web-{F5CD94C5-66F2-7A5F-3C4A-5CFA73652C8A}" dt="2021-08-26T00:42:03.184" v="1" actId="1076"/>
        <pc:sldMkLst>
          <pc:docMk/>
          <pc:sldMk cId="504449634" sldId="2147375652"/>
        </pc:sldMkLst>
        <pc:picChg chg="mod">
          <ac:chgData name="Ajwaliya, Nishit" userId="S::nishit.ajwaliya@us.nationalgrid.com::d6171631-3d08-453d-8afd-2dc62a5026e2" providerId="AD" clId="Web-{F5CD94C5-66F2-7A5F-3C4A-5CFA73652C8A}" dt="2021-08-26T00:42:03.184" v="1" actId="1076"/>
          <ac:picMkLst>
            <pc:docMk/>
            <pc:sldMk cId="504449634" sldId="2147375652"/>
            <ac:picMk id="11" creationId="{E0F682C6-734E-4D17-87E4-898D31F52E0A}"/>
          </ac:picMkLst>
        </pc:picChg>
      </pc:sldChg>
    </pc:docChg>
  </pc:docChgLst>
  <pc:docChgLst>
    <pc:chgData name="Nandikonda, Kiranmai" userId="S::kiranmai.nandikonda@us.nationalgrid.com::07981659-b187-493e-9e23-22b7c92723ee" providerId="AD" clId="Web-{11CC36D9-20A9-DC65-E9FA-F2E82CB6922A}"/>
    <pc:docChg chg="addSld delSld">
      <pc:chgData name="Nandikonda, Kiranmai" userId="S::kiranmai.nandikonda@us.nationalgrid.com::07981659-b187-493e-9e23-22b7c92723ee" providerId="AD" clId="Web-{11CC36D9-20A9-DC65-E9FA-F2E82CB6922A}" dt="2021-08-31T17:43:31.885" v="1"/>
      <pc:docMkLst>
        <pc:docMk/>
      </pc:docMkLst>
      <pc:sldChg chg="add del">
        <pc:chgData name="Nandikonda, Kiranmai" userId="S::kiranmai.nandikonda@us.nationalgrid.com::07981659-b187-493e-9e23-22b7c92723ee" providerId="AD" clId="Web-{11CC36D9-20A9-DC65-E9FA-F2E82CB6922A}" dt="2021-08-31T17:43:31.885" v="1"/>
        <pc:sldMkLst>
          <pc:docMk/>
          <pc:sldMk cId="2625256309" sldId="2147375403"/>
        </pc:sldMkLst>
      </pc:sldChg>
    </pc:docChg>
  </pc:docChgLst>
  <pc:docChgLst>
    <pc:chgData name="Nandikonda, Kiranmai" userId="S::kiranmai.nandikonda@us.nationalgrid.com::07981659-b187-493e-9e23-22b7c92723ee" providerId="AD" clId="Web-{4D9AD58A-267D-6C63-757B-83044502B20F}"/>
    <pc:docChg chg="modSld">
      <pc:chgData name="Nandikonda, Kiranmai" userId="S::kiranmai.nandikonda@us.nationalgrid.com::07981659-b187-493e-9e23-22b7c92723ee" providerId="AD" clId="Web-{4D9AD58A-267D-6C63-757B-83044502B20F}" dt="2021-08-26T20:55:38.759" v="52" actId="20577"/>
      <pc:docMkLst>
        <pc:docMk/>
      </pc:docMkLst>
      <pc:sldChg chg="modSp">
        <pc:chgData name="Nandikonda, Kiranmai" userId="S::kiranmai.nandikonda@us.nationalgrid.com::07981659-b187-493e-9e23-22b7c92723ee" providerId="AD" clId="Web-{4D9AD58A-267D-6C63-757B-83044502B20F}" dt="2021-08-26T20:55:38.759" v="52" actId="20577"/>
        <pc:sldMkLst>
          <pc:docMk/>
          <pc:sldMk cId="1493052834" sldId="2147375649"/>
        </pc:sldMkLst>
        <pc:spChg chg="mod">
          <ac:chgData name="Nandikonda, Kiranmai" userId="S::kiranmai.nandikonda@us.nationalgrid.com::07981659-b187-493e-9e23-22b7c92723ee" providerId="AD" clId="Web-{4D9AD58A-267D-6C63-757B-83044502B20F}" dt="2021-08-26T20:54:58.102" v="44" actId="20577"/>
          <ac:spMkLst>
            <pc:docMk/>
            <pc:sldMk cId="1493052834" sldId="2147375649"/>
            <ac:spMk id="3" creationId="{CBF9CB65-45DF-7243-AB36-9EB53127C0EA}"/>
          </ac:spMkLst>
        </pc:spChg>
        <pc:spChg chg="mod">
          <ac:chgData name="Nandikonda, Kiranmai" userId="S::kiranmai.nandikonda@us.nationalgrid.com::07981659-b187-493e-9e23-22b7c92723ee" providerId="AD" clId="Web-{4D9AD58A-267D-6C63-757B-83044502B20F}" dt="2021-08-26T20:55:14.306" v="47" actId="20577"/>
          <ac:spMkLst>
            <pc:docMk/>
            <pc:sldMk cId="1493052834" sldId="2147375649"/>
            <ac:spMk id="6" creationId="{4C1DCD9B-7BBE-0E40-9783-64251E3FF7FC}"/>
          </ac:spMkLst>
        </pc:spChg>
        <pc:spChg chg="mod">
          <ac:chgData name="Nandikonda, Kiranmai" userId="S::kiranmai.nandikonda@us.nationalgrid.com::07981659-b187-493e-9e23-22b7c92723ee" providerId="AD" clId="Web-{4D9AD58A-267D-6C63-757B-83044502B20F}" dt="2021-08-26T20:55:38.759" v="52" actId="20577"/>
          <ac:spMkLst>
            <pc:docMk/>
            <pc:sldMk cId="1493052834" sldId="2147375649"/>
            <ac:spMk id="7" creationId="{CBD9E884-6EB9-A84A-98F5-4EF318028BEF}"/>
          </ac:spMkLst>
        </pc:spChg>
      </pc:sldChg>
      <pc:sldChg chg="modSp">
        <pc:chgData name="Nandikonda, Kiranmai" userId="S::kiranmai.nandikonda@us.nationalgrid.com::07981659-b187-493e-9e23-22b7c92723ee" providerId="AD" clId="Web-{4D9AD58A-267D-6C63-757B-83044502B20F}" dt="2021-08-26T20:53:40.662" v="30"/>
        <pc:sldMkLst>
          <pc:docMk/>
          <pc:sldMk cId="1324954533" sldId="2147375653"/>
        </pc:sldMkLst>
        <pc:graphicFrameChg chg="mod modGraphic">
          <ac:chgData name="Nandikonda, Kiranmai" userId="S::kiranmai.nandikonda@us.nationalgrid.com::07981659-b187-493e-9e23-22b7c92723ee" providerId="AD" clId="Web-{4D9AD58A-267D-6C63-757B-83044502B20F}" dt="2021-08-26T20:53:40.662" v="30"/>
          <ac:graphicFrameMkLst>
            <pc:docMk/>
            <pc:sldMk cId="1324954533" sldId="2147375653"/>
            <ac:graphicFrameMk id="2" creationId="{59907ED8-794C-4E83-8AB7-EC88DD68083F}"/>
          </ac:graphicFrameMkLst>
        </pc:graphicFrameChg>
      </pc:sldChg>
    </pc:docChg>
  </pc:docChgLst>
  <pc:docChgLst>
    <pc:chgData name="Nishit" userId="d6171631-3d08-453d-8afd-2dc62a5026e2" providerId="ADAL" clId="{5D66200C-E0A8-4C83-A2B1-EE4C94FD5965}"/>
    <pc:docChg chg="custSel addSld modSld">
      <pc:chgData name="Nishit" userId="d6171631-3d08-453d-8afd-2dc62a5026e2" providerId="ADAL" clId="{5D66200C-E0A8-4C83-A2B1-EE4C94FD5965}" dt="2021-09-29T14:50:23.283" v="822" actId="22"/>
      <pc:docMkLst>
        <pc:docMk/>
      </pc:docMkLst>
      <pc:sldChg chg="addSp delSp mod">
        <pc:chgData name="Nishit" userId="d6171631-3d08-453d-8afd-2dc62a5026e2" providerId="ADAL" clId="{5D66200C-E0A8-4C83-A2B1-EE4C94FD5965}" dt="2021-09-29T14:50:23.283" v="822" actId="22"/>
        <pc:sldMkLst>
          <pc:docMk/>
          <pc:sldMk cId="504449634" sldId="2147375652"/>
        </pc:sldMkLst>
        <pc:picChg chg="add">
          <ac:chgData name="Nishit" userId="d6171631-3d08-453d-8afd-2dc62a5026e2" providerId="ADAL" clId="{5D66200C-E0A8-4C83-A2B1-EE4C94FD5965}" dt="2021-09-29T14:50:23.283" v="822" actId="22"/>
          <ac:picMkLst>
            <pc:docMk/>
            <pc:sldMk cId="504449634" sldId="2147375652"/>
            <ac:picMk id="3" creationId="{871E8A94-890F-44CE-BF38-43729A5A77C3}"/>
          </ac:picMkLst>
        </pc:picChg>
        <pc:picChg chg="del">
          <ac:chgData name="Nishit" userId="d6171631-3d08-453d-8afd-2dc62a5026e2" providerId="ADAL" clId="{5D66200C-E0A8-4C83-A2B1-EE4C94FD5965}" dt="2021-09-29T14:50:22.704" v="821" actId="478"/>
          <ac:picMkLst>
            <pc:docMk/>
            <pc:sldMk cId="504449634" sldId="2147375652"/>
            <ac:picMk id="4" creationId="{73EFF63C-8962-40C3-A345-D06FB0E14FF1}"/>
          </ac:picMkLst>
        </pc:picChg>
      </pc:sldChg>
      <pc:sldChg chg="modSp mod">
        <pc:chgData name="Nishit" userId="d6171631-3d08-453d-8afd-2dc62a5026e2" providerId="ADAL" clId="{5D66200C-E0A8-4C83-A2B1-EE4C94FD5965}" dt="2021-09-29T12:58:39.659" v="820" actId="6549"/>
        <pc:sldMkLst>
          <pc:docMk/>
          <pc:sldMk cId="3947106780" sldId="2147375654"/>
        </pc:sldMkLst>
        <pc:graphicFrameChg chg="mod modGraphic">
          <ac:chgData name="Nishit" userId="d6171631-3d08-453d-8afd-2dc62a5026e2" providerId="ADAL" clId="{5D66200C-E0A8-4C83-A2B1-EE4C94FD5965}" dt="2021-09-29T12:58:39.659" v="820" actId="6549"/>
          <ac:graphicFrameMkLst>
            <pc:docMk/>
            <pc:sldMk cId="3947106780" sldId="2147375654"/>
            <ac:graphicFrameMk id="4" creationId="{DB7E4C9C-28D7-4695-B220-C1F3D299A506}"/>
          </ac:graphicFrameMkLst>
        </pc:graphicFrameChg>
      </pc:sldChg>
      <pc:sldChg chg="modSp mod">
        <pc:chgData name="Nishit" userId="d6171631-3d08-453d-8afd-2dc62a5026e2" providerId="ADAL" clId="{5D66200C-E0A8-4C83-A2B1-EE4C94FD5965}" dt="2021-09-29T12:55:23.214" v="702" actId="20577"/>
        <pc:sldMkLst>
          <pc:docMk/>
          <pc:sldMk cId="4251742243" sldId="2147375655"/>
        </pc:sldMkLst>
        <pc:graphicFrameChg chg="mod modGraphic">
          <ac:chgData name="Nishit" userId="d6171631-3d08-453d-8afd-2dc62a5026e2" providerId="ADAL" clId="{5D66200C-E0A8-4C83-A2B1-EE4C94FD5965}" dt="2021-09-29T12:55:23.214" v="702" actId="20577"/>
          <ac:graphicFrameMkLst>
            <pc:docMk/>
            <pc:sldMk cId="4251742243" sldId="2147375655"/>
            <ac:graphicFrameMk id="4" creationId="{DB7E4C9C-28D7-4695-B220-C1F3D299A506}"/>
          </ac:graphicFrameMkLst>
        </pc:graphicFrameChg>
      </pc:sldChg>
      <pc:sldChg chg="add">
        <pc:chgData name="Nishit" userId="d6171631-3d08-453d-8afd-2dc62a5026e2" providerId="ADAL" clId="{5D66200C-E0A8-4C83-A2B1-EE4C94FD5965}" dt="2021-09-28T22:49:38.221" v="40"/>
        <pc:sldMkLst>
          <pc:docMk/>
          <pc:sldMk cId="255830747" sldId="2147375656"/>
        </pc:sldMkLst>
      </pc:sldChg>
    </pc:docChg>
  </pc:docChgLst>
  <pc:docChgLst>
    <pc:chgData name="Nandikonda, Kiranmai" userId="S::kiranmai.nandikonda@us.nationalgrid.com::07981659-b187-493e-9e23-22b7c92723ee" providerId="AD" clId="Web-{A4AE2DC7-E976-7AC4-B81B-09F641C45997}"/>
    <pc:docChg chg="modSld">
      <pc:chgData name="Nandikonda, Kiranmai" userId="S::kiranmai.nandikonda@us.nationalgrid.com::07981659-b187-493e-9e23-22b7c92723ee" providerId="AD" clId="Web-{A4AE2DC7-E976-7AC4-B81B-09F641C45997}" dt="2021-09-08T20:40:58.247" v="0"/>
      <pc:docMkLst>
        <pc:docMk/>
      </pc:docMkLst>
      <pc:sldChg chg="modSp">
        <pc:chgData name="Nandikonda, Kiranmai" userId="S::kiranmai.nandikonda@us.nationalgrid.com::07981659-b187-493e-9e23-22b7c92723ee" providerId="AD" clId="Web-{A4AE2DC7-E976-7AC4-B81B-09F641C45997}" dt="2021-09-08T20:40:58.247" v="0"/>
        <pc:sldMkLst>
          <pc:docMk/>
          <pc:sldMk cId="1324954533" sldId="2147375653"/>
        </pc:sldMkLst>
        <pc:graphicFrameChg chg="modGraphic">
          <ac:chgData name="Nandikonda, Kiranmai" userId="S::kiranmai.nandikonda@us.nationalgrid.com::07981659-b187-493e-9e23-22b7c92723ee" providerId="AD" clId="Web-{A4AE2DC7-E976-7AC4-B81B-09F641C45997}" dt="2021-09-08T20:40:58.247" v="0"/>
          <ac:graphicFrameMkLst>
            <pc:docMk/>
            <pc:sldMk cId="1324954533" sldId="2147375653"/>
            <ac:graphicFrameMk id="2" creationId="{59907ED8-794C-4E83-8AB7-EC88DD68083F}"/>
          </ac:graphicFrameMkLst>
        </pc:graphicFrameChg>
      </pc:sldChg>
    </pc:docChg>
  </pc:docChgLst>
  <pc:docChgLst>
    <pc:chgData name="Ajwaliya, Nishit" userId="S::nishit.ajwaliya@us.nationalgrid.com::d6171631-3d08-453d-8afd-2dc62a5026e2" providerId="AD" clId="Web-{2D34A388-F8A8-ECCC-7F86-90B27A1A03F3}"/>
    <pc:docChg chg="delSld modSld sldOrd">
      <pc:chgData name="Ajwaliya, Nishit" userId="S::nishit.ajwaliya@us.nationalgrid.com::d6171631-3d08-453d-8afd-2dc62a5026e2" providerId="AD" clId="Web-{2D34A388-F8A8-ECCC-7F86-90B27A1A03F3}" dt="2021-10-06T14:37:06.723" v="846" actId="20577"/>
      <pc:docMkLst>
        <pc:docMk/>
      </pc:docMkLst>
      <pc:sldChg chg="del">
        <pc:chgData name="Ajwaliya, Nishit" userId="S::nishit.ajwaliya@us.nationalgrid.com::d6171631-3d08-453d-8afd-2dc62a5026e2" providerId="AD" clId="Web-{2D34A388-F8A8-ECCC-7F86-90B27A1A03F3}" dt="2021-10-05T12:00:55.693" v="764"/>
        <pc:sldMkLst>
          <pc:docMk/>
          <pc:sldMk cId="3777256162" sldId="583"/>
        </pc:sldMkLst>
      </pc:sldChg>
      <pc:sldChg chg="modSp">
        <pc:chgData name="Ajwaliya, Nishit" userId="S::nishit.ajwaliya@us.nationalgrid.com::d6171631-3d08-453d-8afd-2dc62a5026e2" providerId="AD" clId="Web-{2D34A388-F8A8-ECCC-7F86-90B27A1A03F3}" dt="2021-10-06T14:37:06.723" v="846" actId="20577"/>
        <pc:sldMkLst>
          <pc:docMk/>
          <pc:sldMk cId="136374311" sldId="3947"/>
        </pc:sldMkLst>
        <pc:spChg chg="mod">
          <ac:chgData name="Ajwaliya, Nishit" userId="S::nishit.ajwaliya@us.nationalgrid.com::d6171631-3d08-453d-8afd-2dc62a5026e2" providerId="AD" clId="Web-{2D34A388-F8A8-ECCC-7F86-90B27A1A03F3}" dt="2021-10-06T14:37:06.723" v="846" actId="20577"/>
          <ac:spMkLst>
            <pc:docMk/>
            <pc:sldMk cId="136374311" sldId="3947"/>
            <ac:spMk id="3" creationId="{00000000-0000-0000-0000-000000000000}"/>
          </ac:spMkLst>
        </pc:spChg>
      </pc:sldChg>
      <pc:sldChg chg="modSp">
        <pc:chgData name="Ajwaliya, Nishit" userId="S::nishit.ajwaliya@us.nationalgrid.com::d6171631-3d08-453d-8afd-2dc62a5026e2" providerId="AD" clId="Web-{2D34A388-F8A8-ECCC-7F86-90B27A1A03F3}" dt="2021-10-05T04:04:57.486" v="736" actId="20577"/>
        <pc:sldMkLst>
          <pc:docMk/>
          <pc:sldMk cId="1537602166" sldId="2147375398"/>
        </pc:sldMkLst>
        <pc:spChg chg="mod">
          <ac:chgData name="Ajwaliya, Nishit" userId="S::nishit.ajwaliya@us.nationalgrid.com::d6171631-3d08-453d-8afd-2dc62a5026e2" providerId="AD" clId="Web-{2D34A388-F8A8-ECCC-7F86-90B27A1A03F3}" dt="2021-10-05T04:04:57.486" v="736" actId="20577"/>
          <ac:spMkLst>
            <pc:docMk/>
            <pc:sldMk cId="1537602166" sldId="2147375398"/>
            <ac:spMk id="7" creationId="{CBD9E884-6EB9-A84A-98F5-4EF318028BEF}"/>
          </ac:spMkLst>
        </pc:spChg>
      </pc:sldChg>
      <pc:sldChg chg="modSp">
        <pc:chgData name="Ajwaliya, Nishit" userId="S::nishit.ajwaliya@us.nationalgrid.com::d6171631-3d08-453d-8afd-2dc62a5026e2" providerId="AD" clId="Web-{2D34A388-F8A8-ECCC-7F86-90B27A1A03F3}" dt="2021-10-05T04:05:13.314" v="741" actId="20577"/>
        <pc:sldMkLst>
          <pc:docMk/>
          <pc:sldMk cId="1534130096" sldId="2147375399"/>
        </pc:sldMkLst>
        <pc:spChg chg="mod">
          <ac:chgData name="Ajwaliya, Nishit" userId="S::nishit.ajwaliya@us.nationalgrid.com::d6171631-3d08-453d-8afd-2dc62a5026e2" providerId="AD" clId="Web-{2D34A388-F8A8-ECCC-7F86-90B27A1A03F3}" dt="2021-10-05T04:05:13.314" v="741" actId="20577"/>
          <ac:spMkLst>
            <pc:docMk/>
            <pc:sldMk cId="1534130096" sldId="2147375399"/>
            <ac:spMk id="3" creationId="{259B29ED-FC4B-AE4D-A9AC-E90FF2AA7699}"/>
          </ac:spMkLst>
        </pc:spChg>
        <pc:spChg chg="mod">
          <ac:chgData name="Ajwaliya, Nishit" userId="S::nishit.ajwaliya@us.nationalgrid.com::d6171631-3d08-453d-8afd-2dc62a5026e2" providerId="AD" clId="Web-{2D34A388-F8A8-ECCC-7F86-90B27A1A03F3}" dt="2021-10-05T04:05:10.705" v="739" actId="20577"/>
          <ac:spMkLst>
            <pc:docMk/>
            <pc:sldMk cId="1534130096" sldId="2147375399"/>
            <ac:spMk id="6" creationId="{67553BEB-BDF3-EE41-A550-B7F9C0BA134E}"/>
          </ac:spMkLst>
        </pc:spChg>
        <pc:spChg chg="mod">
          <ac:chgData name="Ajwaliya, Nishit" userId="S::nishit.ajwaliya@us.nationalgrid.com::d6171631-3d08-453d-8afd-2dc62a5026e2" providerId="AD" clId="Web-{2D34A388-F8A8-ECCC-7F86-90B27A1A03F3}" dt="2021-10-05T04:05:05.673" v="737" actId="20577"/>
          <ac:spMkLst>
            <pc:docMk/>
            <pc:sldMk cId="1534130096" sldId="2147375399"/>
            <ac:spMk id="7" creationId="{C8075C54-12FF-3443-9874-1786FEC1E849}"/>
          </ac:spMkLst>
        </pc:spChg>
      </pc:sldChg>
      <pc:sldChg chg="modSp">
        <pc:chgData name="Ajwaliya, Nishit" userId="S::nishit.ajwaliya@us.nationalgrid.com::d6171631-3d08-453d-8afd-2dc62a5026e2" providerId="AD" clId="Web-{2D34A388-F8A8-ECCC-7F86-90B27A1A03F3}" dt="2021-10-05T01:40:53.242" v="12" actId="20577"/>
        <pc:sldMkLst>
          <pc:docMk/>
          <pc:sldMk cId="2550631324" sldId="2147375402"/>
        </pc:sldMkLst>
        <pc:spChg chg="mod">
          <ac:chgData name="Ajwaliya, Nishit" userId="S::nishit.ajwaliya@us.nationalgrid.com::d6171631-3d08-453d-8afd-2dc62a5026e2" providerId="AD" clId="Web-{2D34A388-F8A8-ECCC-7F86-90B27A1A03F3}" dt="2021-10-05T01:40:53.242" v="12" actId="20577"/>
          <ac:spMkLst>
            <pc:docMk/>
            <pc:sldMk cId="2550631324" sldId="2147375402"/>
            <ac:spMk id="79" creationId="{A99EFCF8-6605-4433-A4BA-F727AEC9C642}"/>
          </ac:spMkLst>
        </pc:spChg>
      </pc:sldChg>
      <pc:sldChg chg="modSp">
        <pc:chgData name="Ajwaliya, Nishit" userId="S::nishit.ajwaliya@us.nationalgrid.com::d6171631-3d08-453d-8afd-2dc62a5026e2" providerId="AD" clId="Web-{2D34A388-F8A8-ECCC-7F86-90B27A1A03F3}" dt="2021-10-05T01:27:58.983" v="10"/>
        <pc:sldMkLst>
          <pc:docMk/>
          <pc:sldMk cId="3248382154" sldId="2147375643"/>
        </pc:sldMkLst>
        <pc:graphicFrameChg chg="mod modGraphic">
          <ac:chgData name="Ajwaliya, Nishit" userId="S::nishit.ajwaliya@us.nationalgrid.com::d6171631-3d08-453d-8afd-2dc62a5026e2" providerId="AD" clId="Web-{2D34A388-F8A8-ECCC-7F86-90B27A1A03F3}" dt="2021-10-05T01:27:58.983" v="10"/>
          <ac:graphicFrameMkLst>
            <pc:docMk/>
            <pc:sldMk cId="3248382154" sldId="2147375643"/>
            <ac:graphicFrameMk id="6" creationId="{33F16851-9271-4133-BD17-1532D22892B0}"/>
          </ac:graphicFrameMkLst>
        </pc:graphicFrameChg>
      </pc:sldChg>
      <pc:sldChg chg="modSp">
        <pc:chgData name="Ajwaliya, Nishit" userId="S::nishit.ajwaliya@us.nationalgrid.com::d6171631-3d08-453d-8afd-2dc62a5026e2" providerId="AD" clId="Web-{2D34A388-F8A8-ECCC-7F86-90B27A1A03F3}" dt="2021-10-05T04:06:01.972" v="753" actId="20577"/>
        <pc:sldMkLst>
          <pc:docMk/>
          <pc:sldMk cId="2549472653" sldId="2147375650"/>
        </pc:sldMkLst>
        <pc:spChg chg="mod">
          <ac:chgData name="Ajwaliya, Nishit" userId="S::nishit.ajwaliya@us.nationalgrid.com::d6171631-3d08-453d-8afd-2dc62a5026e2" providerId="AD" clId="Web-{2D34A388-F8A8-ECCC-7F86-90B27A1A03F3}" dt="2021-10-05T04:06:01.972" v="753" actId="20577"/>
          <ac:spMkLst>
            <pc:docMk/>
            <pc:sldMk cId="2549472653" sldId="2147375650"/>
            <ac:spMk id="8" creationId="{FDB4336B-3DBE-4F71-824A-3B9AD469878A}"/>
          </ac:spMkLst>
        </pc:spChg>
      </pc:sldChg>
      <pc:sldChg chg="modSp">
        <pc:chgData name="Ajwaliya, Nishit" userId="S::nishit.ajwaliya@us.nationalgrid.com::d6171631-3d08-453d-8afd-2dc62a5026e2" providerId="AD" clId="Web-{2D34A388-F8A8-ECCC-7F86-90B27A1A03F3}" dt="2021-10-05T04:06:16.519" v="763" actId="20577"/>
        <pc:sldMkLst>
          <pc:docMk/>
          <pc:sldMk cId="3144636262" sldId="2147375651"/>
        </pc:sldMkLst>
        <pc:spChg chg="mod">
          <ac:chgData name="Ajwaliya, Nishit" userId="S::nishit.ajwaliya@us.nationalgrid.com::d6171631-3d08-453d-8afd-2dc62a5026e2" providerId="AD" clId="Web-{2D34A388-F8A8-ECCC-7F86-90B27A1A03F3}" dt="2021-10-05T04:06:16.519" v="763" actId="20577"/>
          <ac:spMkLst>
            <pc:docMk/>
            <pc:sldMk cId="3144636262" sldId="2147375651"/>
            <ac:spMk id="8" creationId="{FDB4336B-3DBE-4F71-824A-3B9AD469878A}"/>
          </ac:spMkLst>
        </pc:spChg>
        <pc:graphicFrameChg chg="mod modGraphic">
          <ac:chgData name="Ajwaliya, Nishit" userId="S::nishit.ajwaliya@us.nationalgrid.com::d6171631-3d08-453d-8afd-2dc62a5026e2" providerId="AD" clId="Web-{2D34A388-F8A8-ECCC-7F86-90B27A1A03F3}" dt="2021-10-05T04:04:36.329" v="734"/>
          <ac:graphicFrameMkLst>
            <pc:docMk/>
            <pc:sldMk cId="3144636262" sldId="2147375651"/>
            <ac:graphicFrameMk id="4" creationId="{DB7E4C9C-28D7-4695-B220-C1F3D299A506}"/>
          </ac:graphicFrameMkLst>
        </pc:graphicFrameChg>
      </pc:sldChg>
      <pc:sldChg chg="addSp delSp modSp">
        <pc:chgData name="Ajwaliya, Nishit" userId="S::nishit.ajwaliya@us.nationalgrid.com::d6171631-3d08-453d-8afd-2dc62a5026e2" providerId="AD" clId="Web-{2D34A388-F8A8-ECCC-7F86-90B27A1A03F3}" dt="2021-10-05T15:55:15.807" v="839" actId="1076"/>
        <pc:sldMkLst>
          <pc:docMk/>
          <pc:sldMk cId="504449634" sldId="2147375652"/>
        </pc:sldMkLst>
        <pc:picChg chg="add mod">
          <ac:chgData name="Ajwaliya, Nishit" userId="S::nishit.ajwaliya@us.nationalgrid.com::d6171631-3d08-453d-8afd-2dc62a5026e2" providerId="AD" clId="Web-{2D34A388-F8A8-ECCC-7F86-90B27A1A03F3}" dt="2021-10-05T15:55:15.807" v="839" actId="1076"/>
          <ac:picMkLst>
            <pc:docMk/>
            <pc:sldMk cId="504449634" sldId="2147375652"/>
            <ac:picMk id="2" creationId="{B1A66D62-5600-4916-A855-7D2A0749D966}"/>
          </ac:picMkLst>
        </pc:picChg>
        <pc:picChg chg="del">
          <ac:chgData name="Ajwaliya, Nishit" userId="S::nishit.ajwaliya@us.nationalgrid.com::d6171631-3d08-453d-8afd-2dc62a5026e2" providerId="AD" clId="Web-{2D34A388-F8A8-ECCC-7F86-90B27A1A03F3}" dt="2021-10-05T15:54:38.494" v="829"/>
          <ac:picMkLst>
            <pc:docMk/>
            <pc:sldMk cId="504449634" sldId="2147375652"/>
            <ac:picMk id="4" creationId="{C470EE88-FFA0-40B3-B22D-2FEB2774947E}"/>
          </ac:picMkLst>
        </pc:picChg>
      </pc:sldChg>
      <pc:sldChg chg="modSp ord">
        <pc:chgData name="Ajwaliya, Nishit" userId="S::nishit.ajwaliya@us.nationalgrid.com::d6171631-3d08-453d-8afd-2dc62a5026e2" providerId="AD" clId="Web-{2D34A388-F8A8-ECCC-7F86-90B27A1A03F3}" dt="2021-10-05T04:00:49.479" v="409"/>
        <pc:sldMkLst>
          <pc:docMk/>
          <pc:sldMk cId="1324954533" sldId="2147375653"/>
        </pc:sldMkLst>
        <pc:spChg chg="mod">
          <ac:chgData name="Ajwaliya, Nishit" userId="S::nishit.ajwaliya@us.nationalgrid.com::d6171631-3d08-453d-8afd-2dc62a5026e2" providerId="AD" clId="Web-{2D34A388-F8A8-ECCC-7F86-90B27A1A03F3}" dt="2021-10-05T03:57:48.498" v="13" actId="20577"/>
          <ac:spMkLst>
            <pc:docMk/>
            <pc:sldMk cId="1324954533" sldId="2147375653"/>
            <ac:spMk id="8" creationId="{FDB4336B-3DBE-4F71-824A-3B9AD469878A}"/>
          </ac:spMkLst>
        </pc:spChg>
      </pc:sldChg>
      <pc:sldChg chg="del">
        <pc:chgData name="Ajwaliya, Nishit" userId="S::nishit.ajwaliya@us.nationalgrid.com::d6171631-3d08-453d-8afd-2dc62a5026e2" providerId="AD" clId="Web-{2D34A388-F8A8-ECCC-7F86-90B27A1A03F3}" dt="2021-10-05T04:05:54.769" v="742"/>
        <pc:sldMkLst>
          <pc:docMk/>
          <pc:sldMk cId="255830747" sldId="2147375656"/>
        </pc:sldMkLst>
      </pc:sldChg>
      <pc:sldChg chg="modSp">
        <pc:chgData name="Ajwaliya, Nishit" userId="S::nishit.ajwaliya@us.nationalgrid.com::d6171631-3d08-453d-8afd-2dc62a5026e2" providerId="AD" clId="Web-{2D34A388-F8A8-ECCC-7F86-90B27A1A03F3}" dt="2021-10-05T15:01:43.599" v="828" actId="20577"/>
        <pc:sldMkLst>
          <pc:docMk/>
          <pc:sldMk cId="1298117154" sldId="2147375657"/>
        </pc:sldMkLst>
        <pc:spChg chg="mod">
          <ac:chgData name="Ajwaliya, Nishit" userId="S::nishit.ajwaliya@us.nationalgrid.com::d6171631-3d08-453d-8afd-2dc62a5026e2" providerId="AD" clId="Web-{2D34A388-F8A8-ECCC-7F86-90B27A1A03F3}" dt="2021-10-05T15:01:43.599" v="828" actId="20577"/>
          <ac:spMkLst>
            <pc:docMk/>
            <pc:sldMk cId="1298117154" sldId="2147375657"/>
            <ac:spMk id="5" creationId="{E53697AD-4CB4-4638-8680-B13368387A01}"/>
          </ac:spMkLst>
        </pc:spChg>
      </pc:sldChg>
    </pc:docChg>
  </pc:docChgLst>
  <pc:docChgLst>
    <pc:chgData name="Nandikonda, Kiranmai" userId="S::kiranmai.nandikonda@us.nationalgrid.com::07981659-b187-493e-9e23-22b7c92723ee" providerId="AD" clId="Web-{04C6F2CD-936B-FA7A-E896-25C3337C5F95}"/>
    <pc:docChg chg="modSld sldOrd">
      <pc:chgData name="Nandikonda, Kiranmai" userId="S::kiranmai.nandikonda@us.nationalgrid.com::07981659-b187-493e-9e23-22b7c92723ee" providerId="AD" clId="Web-{04C6F2CD-936B-FA7A-E896-25C3337C5F95}" dt="2021-09-07T20:43:39.407" v="256"/>
      <pc:docMkLst>
        <pc:docMk/>
      </pc:docMkLst>
      <pc:sldChg chg="delSp modSp">
        <pc:chgData name="Nandikonda, Kiranmai" userId="S::kiranmai.nandikonda@us.nationalgrid.com::07981659-b187-493e-9e23-22b7c92723ee" providerId="AD" clId="Web-{04C6F2CD-936B-FA7A-E896-25C3337C5F95}" dt="2021-09-07T17:44:54.577" v="231" actId="14100"/>
        <pc:sldMkLst>
          <pc:docMk/>
          <pc:sldMk cId="1534130096" sldId="2147375399"/>
        </pc:sldMkLst>
        <pc:spChg chg="del">
          <ac:chgData name="Nandikonda, Kiranmai" userId="S::kiranmai.nandikonda@us.nationalgrid.com::07981659-b187-493e-9e23-22b7c92723ee" providerId="AD" clId="Web-{04C6F2CD-936B-FA7A-E896-25C3337C5F95}" dt="2021-09-07T17:44:38.311" v="228"/>
          <ac:spMkLst>
            <pc:docMk/>
            <pc:sldMk cId="1534130096" sldId="2147375399"/>
            <ac:spMk id="2" creationId="{CAAE5805-BDBB-4CCE-8DAD-8848E26DF87C}"/>
          </ac:spMkLst>
        </pc:spChg>
        <pc:spChg chg="mod">
          <ac:chgData name="Nandikonda, Kiranmai" userId="S::kiranmai.nandikonda@us.nationalgrid.com::07981659-b187-493e-9e23-22b7c92723ee" providerId="AD" clId="Web-{04C6F2CD-936B-FA7A-E896-25C3337C5F95}" dt="2021-09-07T17:43:33.229" v="211" actId="20577"/>
          <ac:spMkLst>
            <pc:docMk/>
            <pc:sldMk cId="1534130096" sldId="2147375399"/>
            <ac:spMk id="5" creationId="{523863A0-F571-9345-A054-56E3D9DF7DE6}"/>
          </ac:spMkLst>
        </pc:spChg>
        <pc:spChg chg="mod">
          <ac:chgData name="Nandikonda, Kiranmai" userId="S::kiranmai.nandikonda@us.nationalgrid.com::07981659-b187-493e-9e23-22b7c92723ee" providerId="AD" clId="Web-{04C6F2CD-936B-FA7A-E896-25C3337C5F95}" dt="2021-09-07T17:44:54.577" v="231" actId="14100"/>
          <ac:spMkLst>
            <pc:docMk/>
            <pc:sldMk cId="1534130096" sldId="2147375399"/>
            <ac:spMk id="6" creationId="{67553BEB-BDF3-EE41-A550-B7F9C0BA134E}"/>
          </ac:spMkLst>
        </pc:spChg>
        <pc:spChg chg="mod">
          <ac:chgData name="Nandikonda, Kiranmai" userId="S::kiranmai.nandikonda@us.nationalgrid.com::07981659-b187-493e-9e23-22b7c92723ee" providerId="AD" clId="Web-{04C6F2CD-936B-FA7A-E896-25C3337C5F95}" dt="2021-09-07T17:44:35.717" v="227" actId="14100"/>
          <ac:spMkLst>
            <pc:docMk/>
            <pc:sldMk cId="1534130096" sldId="2147375399"/>
            <ac:spMk id="7" creationId="{C8075C54-12FF-3443-9874-1786FEC1E849}"/>
          </ac:spMkLst>
        </pc:spChg>
      </pc:sldChg>
      <pc:sldChg chg="addSp modSp ord">
        <pc:chgData name="Nandikonda, Kiranmai" userId="S::kiranmai.nandikonda@us.nationalgrid.com::07981659-b187-493e-9e23-22b7c92723ee" providerId="AD" clId="Web-{04C6F2CD-936B-FA7A-E896-25C3337C5F95}" dt="2021-09-07T17:45:21.188" v="236" actId="14100"/>
        <pc:sldMkLst>
          <pc:docMk/>
          <pc:sldMk cId="1493052834" sldId="2147375649"/>
        </pc:sldMkLst>
        <pc:spChg chg="add mod">
          <ac:chgData name="Nandikonda, Kiranmai" userId="S::kiranmai.nandikonda@us.nationalgrid.com::07981659-b187-493e-9e23-22b7c92723ee" providerId="AD" clId="Web-{04C6F2CD-936B-FA7A-E896-25C3337C5F95}" dt="2021-09-07T17:44:26.545" v="226" actId="20577"/>
          <ac:spMkLst>
            <pc:docMk/>
            <pc:sldMk cId="1493052834" sldId="2147375649"/>
            <ac:spMk id="2" creationId="{84EA2C09-14FF-4706-AD5A-FA90AB2AFBA3}"/>
          </ac:spMkLst>
        </pc:spChg>
        <pc:spChg chg="mod">
          <ac:chgData name="Nandikonda, Kiranmai" userId="S::kiranmai.nandikonda@us.nationalgrid.com::07981659-b187-493e-9e23-22b7c92723ee" providerId="AD" clId="Web-{04C6F2CD-936B-FA7A-E896-25C3337C5F95}" dt="2021-09-07T17:45:21.188" v="236" actId="14100"/>
          <ac:spMkLst>
            <pc:docMk/>
            <pc:sldMk cId="1493052834" sldId="2147375649"/>
            <ac:spMk id="3" creationId="{CBF9CB65-45DF-7243-AB36-9EB53127C0EA}"/>
          </ac:spMkLst>
        </pc:spChg>
        <pc:spChg chg="mod">
          <ac:chgData name="Nandikonda, Kiranmai" userId="S::kiranmai.nandikonda@us.nationalgrid.com::07981659-b187-493e-9e23-22b7c92723ee" providerId="AD" clId="Web-{04C6F2CD-936B-FA7A-E896-25C3337C5F95}" dt="2021-09-07T17:45:05.141" v="233" actId="14100"/>
          <ac:spMkLst>
            <pc:docMk/>
            <pc:sldMk cId="1493052834" sldId="2147375649"/>
            <ac:spMk id="7" creationId="{CBD9E884-6EB9-A84A-98F5-4EF318028BEF}"/>
          </ac:spMkLst>
        </pc:spChg>
      </pc:sldChg>
      <pc:sldChg chg="modSp">
        <pc:chgData name="Nandikonda, Kiranmai" userId="S::kiranmai.nandikonda@us.nationalgrid.com::07981659-b187-493e-9e23-22b7c92723ee" providerId="AD" clId="Web-{04C6F2CD-936B-FA7A-E896-25C3337C5F95}" dt="2021-09-07T20:43:39.407" v="256"/>
        <pc:sldMkLst>
          <pc:docMk/>
          <pc:sldMk cId="2549472653" sldId="2147375650"/>
        </pc:sldMkLst>
        <pc:graphicFrameChg chg="mod modGraphic">
          <ac:chgData name="Nandikonda, Kiranmai" userId="S::kiranmai.nandikonda@us.nationalgrid.com::07981659-b187-493e-9e23-22b7c92723ee" providerId="AD" clId="Web-{04C6F2CD-936B-FA7A-E896-25C3337C5F95}" dt="2021-09-07T20:43:39.407" v="256"/>
          <ac:graphicFrameMkLst>
            <pc:docMk/>
            <pc:sldMk cId="2549472653" sldId="2147375650"/>
            <ac:graphicFrameMk id="4" creationId="{DB7E4C9C-28D7-4695-B220-C1F3D299A506}"/>
          </ac:graphicFrameMkLst>
        </pc:graphicFrameChg>
      </pc:sldChg>
      <pc:sldChg chg="modSp">
        <pc:chgData name="Nandikonda, Kiranmai" userId="S::kiranmai.nandikonda@us.nationalgrid.com::07981659-b187-493e-9e23-22b7c92723ee" providerId="AD" clId="Web-{04C6F2CD-936B-FA7A-E896-25C3337C5F95}" dt="2021-09-07T17:42:40.038" v="200"/>
        <pc:sldMkLst>
          <pc:docMk/>
          <pc:sldMk cId="1324954533" sldId="2147375653"/>
        </pc:sldMkLst>
        <pc:graphicFrameChg chg="mod modGraphic">
          <ac:chgData name="Nandikonda, Kiranmai" userId="S::kiranmai.nandikonda@us.nationalgrid.com::07981659-b187-493e-9e23-22b7c92723ee" providerId="AD" clId="Web-{04C6F2CD-936B-FA7A-E896-25C3337C5F95}" dt="2021-09-07T17:42:40.038" v="200"/>
          <ac:graphicFrameMkLst>
            <pc:docMk/>
            <pc:sldMk cId="1324954533" sldId="2147375653"/>
            <ac:graphicFrameMk id="2" creationId="{59907ED8-794C-4E83-8AB7-EC88DD68083F}"/>
          </ac:graphicFrameMkLst>
        </pc:graphicFrameChg>
      </pc:sldChg>
    </pc:docChg>
  </pc:docChgLst>
  <pc:docChgLst>
    <pc:chgData name="Ajwaliya, Nishit" userId="S::nishit.ajwaliya@us.nationalgrid.com::d6171631-3d08-453d-8afd-2dc62a5026e2" providerId="AD" clId="Web-{C74D3255-DE28-E536-7889-9FF2485623F4}"/>
    <pc:docChg chg="modSld">
      <pc:chgData name="Ajwaliya, Nishit" userId="S::nishit.ajwaliya@us.nationalgrid.com::d6171631-3d08-453d-8afd-2dc62a5026e2" providerId="AD" clId="Web-{C74D3255-DE28-E536-7889-9FF2485623F4}" dt="2021-10-01T02:25:49.519" v="370"/>
      <pc:docMkLst>
        <pc:docMk/>
      </pc:docMkLst>
      <pc:sldChg chg="addSp delSp modSp">
        <pc:chgData name="Ajwaliya, Nishit" userId="S::nishit.ajwaliya@us.nationalgrid.com::d6171631-3d08-453d-8afd-2dc62a5026e2" providerId="AD" clId="Web-{C74D3255-DE28-E536-7889-9FF2485623F4}" dt="2021-09-30T22:40:39.324" v="8" actId="1076"/>
        <pc:sldMkLst>
          <pc:docMk/>
          <pc:sldMk cId="504449634" sldId="2147375652"/>
        </pc:sldMkLst>
        <pc:picChg chg="add del mod">
          <ac:chgData name="Ajwaliya, Nishit" userId="S::nishit.ajwaliya@us.nationalgrid.com::d6171631-3d08-453d-8afd-2dc62a5026e2" providerId="AD" clId="Web-{C74D3255-DE28-E536-7889-9FF2485623F4}" dt="2021-09-30T22:40:09.214" v="2"/>
          <ac:picMkLst>
            <pc:docMk/>
            <pc:sldMk cId="504449634" sldId="2147375652"/>
            <ac:picMk id="2" creationId="{2BE69885-B6F0-4695-A089-759F0835E3DA}"/>
          </ac:picMkLst>
        </pc:picChg>
        <pc:picChg chg="del">
          <ac:chgData name="Ajwaliya, Nishit" userId="S::nishit.ajwaliya@us.nationalgrid.com::d6171631-3d08-453d-8afd-2dc62a5026e2" providerId="AD" clId="Web-{C74D3255-DE28-E536-7889-9FF2485623F4}" dt="2021-09-30T22:40:04.214" v="0"/>
          <ac:picMkLst>
            <pc:docMk/>
            <pc:sldMk cId="504449634" sldId="2147375652"/>
            <ac:picMk id="3" creationId="{871E8A94-890F-44CE-BF38-43729A5A77C3}"/>
          </ac:picMkLst>
        </pc:picChg>
        <pc:picChg chg="add mod">
          <ac:chgData name="Ajwaliya, Nishit" userId="S::nishit.ajwaliya@us.nationalgrid.com::d6171631-3d08-453d-8afd-2dc62a5026e2" providerId="AD" clId="Web-{C74D3255-DE28-E536-7889-9FF2485623F4}" dt="2021-09-30T22:40:39.324" v="8" actId="1076"/>
          <ac:picMkLst>
            <pc:docMk/>
            <pc:sldMk cId="504449634" sldId="2147375652"/>
            <ac:picMk id="4" creationId="{C470EE88-FFA0-40B3-B22D-2FEB2774947E}"/>
          </ac:picMkLst>
        </pc:picChg>
      </pc:sldChg>
      <pc:sldChg chg="modSp">
        <pc:chgData name="Ajwaliya, Nishit" userId="S::nishit.ajwaliya@us.nationalgrid.com::d6171631-3d08-453d-8afd-2dc62a5026e2" providerId="AD" clId="Web-{C74D3255-DE28-E536-7889-9FF2485623F4}" dt="2021-10-01T02:25:49.519" v="370"/>
        <pc:sldMkLst>
          <pc:docMk/>
          <pc:sldMk cId="4251742243" sldId="2147375655"/>
        </pc:sldMkLst>
        <pc:graphicFrameChg chg="mod modGraphic">
          <ac:chgData name="Ajwaliya, Nishit" userId="S::nishit.ajwaliya@us.nationalgrid.com::d6171631-3d08-453d-8afd-2dc62a5026e2" providerId="AD" clId="Web-{C74D3255-DE28-E536-7889-9FF2485623F4}" dt="2021-10-01T02:25:49.519" v="370"/>
          <ac:graphicFrameMkLst>
            <pc:docMk/>
            <pc:sldMk cId="4251742243" sldId="2147375655"/>
            <ac:graphicFrameMk id="4" creationId="{DB7E4C9C-28D7-4695-B220-C1F3D299A506}"/>
          </ac:graphicFrameMkLst>
        </pc:graphicFrameChg>
      </pc:sldChg>
    </pc:docChg>
  </pc:docChgLst>
  <pc:docChgLst>
    <pc:chgData name="Nandikonda, Kiranmai" userId="S::kiranmai.nandikonda@us.nationalgrid.com::07981659-b187-493e-9e23-22b7c92723ee" providerId="AD" clId="Web-{F85FF22B-4272-41AA-E8D4-A67DB42E281A}"/>
    <pc:docChg chg="modSld">
      <pc:chgData name="Nandikonda, Kiranmai" userId="S::kiranmai.nandikonda@us.nationalgrid.com::07981659-b187-493e-9e23-22b7c92723ee" providerId="AD" clId="Web-{F85FF22B-4272-41AA-E8D4-A67DB42E281A}" dt="2021-08-26T21:20:12.136" v="25"/>
      <pc:docMkLst>
        <pc:docMk/>
      </pc:docMkLst>
      <pc:sldChg chg="modSp">
        <pc:chgData name="Nandikonda, Kiranmai" userId="S::kiranmai.nandikonda@us.nationalgrid.com::07981659-b187-493e-9e23-22b7c92723ee" providerId="AD" clId="Web-{F85FF22B-4272-41AA-E8D4-A67DB42E281A}" dt="2021-08-26T21:20:12.136" v="25"/>
        <pc:sldMkLst>
          <pc:docMk/>
          <pc:sldMk cId="1324954533" sldId="2147375653"/>
        </pc:sldMkLst>
        <pc:graphicFrameChg chg="mod modGraphic">
          <ac:chgData name="Nandikonda, Kiranmai" userId="S::kiranmai.nandikonda@us.nationalgrid.com::07981659-b187-493e-9e23-22b7c92723ee" providerId="AD" clId="Web-{F85FF22B-4272-41AA-E8D4-A67DB42E281A}" dt="2021-08-26T21:20:12.136" v="25"/>
          <ac:graphicFrameMkLst>
            <pc:docMk/>
            <pc:sldMk cId="1324954533" sldId="2147375653"/>
            <ac:graphicFrameMk id="2" creationId="{59907ED8-794C-4E83-8AB7-EC88DD68083F}"/>
          </ac:graphicFrameMkLst>
        </pc:graphicFrameChg>
      </pc:sldChg>
    </pc:docChg>
  </pc:docChgLst>
  <pc:docChgLst>
    <pc:chgData name="Ajwaliya, Nishit" userId="d6171631-3d08-453d-8afd-2dc62a5026e2" providerId="ADAL" clId="{5D66200C-E0A8-4C83-A2B1-EE4C94FD5965}"/>
    <pc:docChg chg="undo redo custSel addSld delSld modSld sldOrd">
      <pc:chgData name="Ajwaliya, Nishit" userId="d6171631-3d08-453d-8afd-2dc62a5026e2" providerId="ADAL" clId="{5D66200C-E0A8-4C83-A2B1-EE4C94FD5965}" dt="2021-10-01T20:57:56.586" v="3698"/>
      <pc:docMkLst>
        <pc:docMk/>
      </pc:docMkLst>
      <pc:sldChg chg="add">
        <pc:chgData name="Ajwaliya, Nishit" userId="d6171631-3d08-453d-8afd-2dc62a5026e2" providerId="ADAL" clId="{5D66200C-E0A8-4C83-A2B1-EE4C94FD5965}" dt="2021-10-01T12:01:14.736" v="2794"/>
        <pc:sldMkLst>
          <pc:docMk/>
          <pc:sldMk cId="3777256162" sldId="583"/>
        </pc:sldMkLst>
      </pc:sldChg>
      <pc:sldChg chg="modSp mod">
        <pc:chgData name="Ajwaliya, Nishit" userId="d6171631-3d08-453d-8afd-2dc62a5026e2" providerId="ADAL" clId="{5D66200C-E0A8-4C83-A2B1-EE4C94FD5965}" dt="2021-09-15T17:01:41.507" v="2727" actId="20577"/>
        <pc:sldMkLst>
          <pc:docMk/>
          <pc:sldMk cId="136374311" sldId="3947"/>
        </pc:sldMkLst>
        <pc:spChg chg="mod">
          <ac:chgData name="Ajwaliya, Nishit" userId="d6171631-3d08-453d-8afd-2dc62a5026e2" providerId="ADAL" clId="{5D66200C-E0A8-4C83-A2B1-EE4C94FD5965}" dt="2021-09-15T17:01:41.507" v="2727" actId="20577"/>
          <ac:spMkLst>
            <pc:docMk/>
            <pc:sldMk cId="136374311" sldId="3947"/>
            <ac:spMk id="3" creationId="{00000000-0000-0000-0000-000000000000}"/>
          </ac:spMkLst>
        </pc:spChg>
      </pc:sldChg>
      <pc:sldChg chg="add">
        <pc:chgData name="Ajwaliya, Nishit" userId="d6171631-3d08-453d-8afd-2dc62a5026e2" providerId="ADAL" clId="{5D66200C-E0A8-4C83-A2B1-EE4C94FD5965}" dt="2021-10-01T12:01:14.736" v="2794"/>
        <pc:sldMkLst>
          <pc:docMk/>
          <pc:sldMk cId="3641160751" sldId="2147307451"/>
        </pc:sldMkLst>
      </pc:sldChg>
      <pc:sldChg chg="modSp mod">
        <pc:chgData name="Ajwaliya, Nishit" userId="d6171631-3d08-453d-8afd-2dc62a5026e2" providerId="ADAL" clId="{5D66200C-E0A8-4C83-A2B1-EE4C94FD5965}" dt="2021-09-20T19:14:24.123" v="2753" actId="14100"/>
        <pc:sldMkLst>
          <pc:docMk/>
          <pc:sldMk cId="2625256309" sldId="2147375403"/>
        </pc:sldMkLst>
        <pc:spChg chg="mod">
          <ac:chgData name="Ajwaliya, Nishit" userId="d6171631-3d08-453d-8afd-2dc62a5026e2" providerId="ADAL" clId="{5D66200C-E0A8-4C83-A2B1-EE4C94FD5965}" dt="2021-09-20T19:14:24.123" v="2753" actId="14100"/>
          <ac:spMkLst>
            <pc:docMk/>
            <pc:sldMk cId="2625256309" sldId="2147375403"/>
            <ac:spMk id="27" creationId="{85F66EDB-75E1-489D-9EC8-27D0210CA2BC}"/>
          </ac:spMkLst>
        </pc:spChg>
        <pc:spChg chg="mod">
          <ac:chgData name="Ajwaliya, Nishit" userId="d6171631-3d08-453d-8afd-2dc62a5026e2" providerId="ADAL" clId="{5D66200C-E0A8-4C83-A2B1-EE4C94FD5965}" dt="2021-09-20T19:14:20.471" v="2752" actId="1076"/>
          <ac:spMkLst>
            <pc:docMk/>
            <pc:sldMk cId="2625256309" sldId="2147375403"/>
            <ac:spMk id="64" creationId="{F7667129-9058-4673-B134-F28171A869E9}"/>
          </ac:spMkLst>
        </pc:spChg>
      </pc:sldChg>
      <pc:sldChg chg="modSp mod ord">
        <pc:chgData name="Ajwaliya, Nishit" userId="d6171631-3d08-453d-8afd-2dc62a5026e2" providerId="ADAL" clId="{5D66200C-E0A8-4C83-A2B1-EE4C94FD5965}" dt="2021-10-01T20:57:56.586" v="3698"/>
        <pc:sldMkLst>
          <pc:docMk/>
          <pc:sldMk cId="3248382154" sldId="2147375643"/>
        </pc:sldMkLst>
        <pc:spChg chg="mod">
          <ac:chgData name="Ajwaliya, Nishit" userId="d6171631-3d08-453d-8afd-2dc62a5026e2" providerId="ADAL" clId="{5D66200C-E0A8-4C83-A2B1-EE4C94FD5965}" dt="2021-10-01T20:57:47.515" v="3696" actId="20577"/>
          <ac:spMkLst>
            <pc:docMk/>
            <pc:sldMk cId="3248382154" sldId="2147375643"/>
            <ac:spMk id="8" creationId="{FDB4336B-3DBE-4F71-824A-3B9AD469878A}"/>
          </ac:spMkLst>
        </pc:spChg>
      </pc:sldChg>
      <pc:sldChg chg="modSp mod">
        <pc:chgData name="Ajwaliya, Nishit" userId="d6171631-3d08-453d-8afd-2dc62a5026e2" providerId="ADAL" clId="{5D66200C-E0A8-4C83-A2B1-EE4C94FD5965}" dt="2021-09-15T16:43:52.833" v="2032" actId="6549"/>
        <pc:sldMkLst>
          <pc:docMk/>
          <pc:sldMk cId="2549472653" sldId="2147375650"/>
        </pc:sldMkLst>
        <pc:graphicFrameChg chg="mod modGraphic">
          <ac:chgData name="Ajwaliya, Nishit" userId="d6171631-3d08-453d-8afd-2dc62a5026e2" providerId="ADAL" clId="{5D66200C-E0A8-4C83-A2B1-EE4C94FD5965}" dt="2021-09-15T16:43:52.833" v="2032" actId="6549"/>
          <ac:graphicFrameMkLst>
            <pc:docMk/>
            <pc:sldMk cId="2549472653" sldId="2147375650"/>
            <ac:graphicFrameMk id="4" creationId="{DB7E4C9C-28D7-4695-B220-C1F3D299A506}"/>
          </ac:graphicFrameMkLst>
        </pc:graphicFrameChg>
      </pc:sldChg>
      <pc:sldChg chg="addSp delSp modSp mod ord">
        <pc:chgData name="Ajwaliya, Nishit" userId="d6171631-3d08-453d-8afd-2dc62a5026e2" providerId="ADAL" clId="{5D66200C-E0A8-4C83-A2B1-EE4C94FD5965}" dt="2021-09-15T13:41:52.988" v="631" actId="20577"/>
        <pc:sldMkLst>
          <pc:docMk/>
          <pc:sldMk cId="3144636262" sldId="2147375651"/>
        </pc:sldMkLst>
        <pc:graphicFrameChg chg="add del">
          <ac:chgData name="Ajwaliya, Nishit" userId="d6171631-3d08-453d-8afd-2dc62a5026e2" providerId="ADAL" clId="{5D66200C-E0A8-4C83-A2B1-EE4C94FD5965}" dt="2021-09-15T13:40:59.522" v="620"/>
          <ac:graphicFrameMkLst>
            <pc:docMk/>
            <pc:sldMk cId="3144636262" sldId="2147375651"/>
            <ac:graphicFrameMk id="2" creationId="{1A699ED7-368F-42BA-8D4C-5701E1A30862}"/>
          </ac:graphicFrameMkLst>
        </pc:graphicFrameChg>
        <pc:graphicFrameChg chg="mod modGraphic">
          <ac:chgData name="Ajwaliya, Nishit" userId="d6171631-3d08-453d-8afd-2dc62a5026e2" providerId="ADAL" clId="{5D66200C-E0A8-4C83-A2B1-EE4C94FD5965}" dt="2021-09-15T13:41:52.988" v="631" actId="20577"/>
          <ac:graphicFrameMkLst>
            <pc:docMk/>
            <pc:sldMk cId="3144636262" sldId="2147375651"/>
            <ac:graphicFrameMk id="4" creationId="{DB7E4C9C-28D7-4695-B220-C1F3D299A506}"/>
          </ac:graphicFrameMkLst>
        </pc:graphicFrameChg>
      </pc:sldChg>
      <pc:sldChg chg="addSp delSp modSp mod">
        <pc:chgData name="Ajwaliya, Nishit" userId="d6171631-3d08-453d-8afd-2dc62a5026e2" providerId="ADAL" clId="{5D66200C-E0A8-4C83-A2B1-EE4C94FD5965}" dt="2021-09-10T18:13:46.820" v="269" actId="22"/>
        <pc:sldMkLst>
          <pc:docMk/>
          <pc:sldMk cId="504449634" sldId="2147375652"/>
        </pc:sldMkLst>
        <pc:picChg chg="add del mod">
          <ac:chgData name="Ajwaliya, Nishit" userId="d6171631-3d08-453d-8afd-2dc62a5026e2" providerId="ADAL" clId="{5D66200C-E0A8-4C83-A2B1-EE4C94FD5965}" dt="2021-09-10T18:13:46.375" v="268" actId="478"/>
          <ac:picMkLst>
            <pc:docMk/>
            <pc:sldMk cId="504449634" sldId="2147375652"/>
            <ac:picMk id="3" creationId="{7AFF0DDC-300A-49F7-A404-EAB653E6D44E}"/>
          </ac:picMkLst>
        </pc:picChg>
        <pc:picChg chg="add">
          <ac:chgData name="Ajwaliya, Nishit" userId="d6171631-3d08-453d-8afd-2dc62a5026e2" providerId="ADAL" clId="{5D66200C-E0A8-4C83-A2B1-EE4C94FD5965}" dt="2021-09-10T18:13:46.820" v="269" actId="22"/>
          <ac:picMkLst>
            <pc:docMk/>
            <pc:sldMk cId="504449634" sldId="2147375652"/>
            <ac:picMk id="4" creationId="{73EFF63C-8962-40C3-A345-D06FB0E14FF1}"/>
          </ac:picMkLst>
        </pc:picChg>
        <pc:picChg chg="del">
          <ac:chgData name="Ajwaliya, Nishit" userId="d6171631-3d08-453d-8afd-2dc62a5026e2" providerId="ADAL" clId="{5D66200C-E0A8-4C83-A2B1-EE4C94FD5965}" dt="2021-09-09T21:17:35.232" v="0" actId="478"/>
          <ac:picMkLst>
            <pc:docMk/>
            <pc:sldMk cId="504449634" sldId="2147375652"/>
            <ac:picMk id="11" creationId="{E0F682C6-734E-4D17-87E4-898D31F52E0A}"/>
          </ac:picMkLst>
        </pc:picChg>
      </pc:sldChg>
      <pc:sldChg chg="modSp mod">
        <pc:chgData name="Ajwaliya, Nishit" userId="d6171631-3d08-453d-8afd-2dc62a5026e2" providerId="ADAL" clId="{5D66200C-E0A8-4C83-A2B1-EE4C94FD5965}" dt="2021-09-15T21:09:14.005" v="2747" actId="20577"/>
        <pc:sldMkLst>
          <pc:docMk/>
          <pc:sldMk cId="1324954533" sldId="2147375653"/>
        </pc:sldMkLst>
        <pc:graphicFrameChg chg="mod modGraphic">
          <ac:chgData name="Ajwaliya, Nishit" userId="d6171631-3d08-453d-8afd-2dc62a5026e2" providerId="ADAL" clId="{5D66200C-E0A8-4C83-A2B1-EE4C94FD5965}" dt="2021-09-15T21:09:14.005" v="2747" actId="20577"/>
          <ac:graphicFrameMkLst>
            <pc:docMk/>
            <pc:sldMk cId="1324954533" sldId="2147375653"/>
            <ac:graphicFrameMk id="2" creationId="{59907ED8-794C-4E83-8AB7-EC88DD68083F}"/>
          </ac:graphicFrameMkLst>
        </pc:graphicFrameChg>
      </pc:sldChg>
      <pc:sldChg chg="modSp add mod ord">
        <pc:chgData name="Ajwaliya, Nishit" userId="d6171631-3d08-453d-8afd-2dc62a5026e2" providerId="ADAL" clId="{5D66200C-E0A8-4C83-A2B1-EE4C94FD5965}" dt="2021-09-24T20:21:12" v="2793" actId="20577"/>
        <pc:sldMkLst>
          <pc:docMk/>
          <pc:sldMk cId="3947106780" sldId="2147375654"/>
        </pc:sldMkLst>
        <pc:graphicFrameChg chg="mod modGraphic">
          <ac:chgData name="Ajwaliya, Nishit" userId="d6171631-3d08-453d-8afd-2dc62a5026e2" providerId="ADAL" clId="{5D66200C-E0A8-4C83-A2B1-EE4C94FD5965}" dt="2021-09-24T20:21:12" v="2793" actId="20577"/>
          <ac:graphicFrameMkLst>
            <pc:docMk/>
            <pc:sldMk cId="3947106780" sldId="2147375654"/>
            <ac:graphicFrameMk id="4" creationId="{DB7E4C9C-28D7-4695-B220-C1F3D299A506}"/>
          </ac:graphicFrameMkLst>
        </pc:graphicFrameChg>
      </pc:sldChg>
      <pc:sldChg chg="add del">
        <pc:chgData name="Ajwaliya, Nishit" userId="d6171631-3d08-453d-8afd-2dc62a5026e2" providerId="ADAL" clId="{5D66200C-E0A8-4C83-A2B1-EE4C94FD5965}" dt="2021-10-01T15:58:22.086" v="3615" actId="47"/>
        <pc:sldMkLst>
          <pc:docMk/>
          <pc:sldMk cId="4251742243" sldId="2147375655"/>
        </pc:sldMkLst>
      </pc:sldChg>
      <pc:sldChg chg="addSp delSp modSp add mod">
        <pc:chgData name="Ajwaliya, Nishit" userId="d6171631-3d08-453d-8afd-2dc62a5026e2" providerId="ADAL" clId="{5D66200C-E0A8-4C83-A2B1-EE4C94FD5965}" dt="2021-10-01T17:28:43.656" v="3686" actId="14100"/>
        <pc:sldMkLst>
          <pc:docMk/>
          <pc:sldMk cId="1298117154" sldId="2147375657"/>
        </pc:sldMkLst>
        <pc:spChg chg="add mod">
          <ac:chgData name="Ajwaliya, Nishit" userId="d6171631-3d08-453d-8afd-2dc62a5026e2" providerId="ADAL" clId="{5D66200C-E0A8-4C83-A2B1-EE4C94FD5965}" dt="2021-10-01T17:28:43.656" v="3686" actId="14100"/>
          <ac:spMkLst>
            <pc:docMk/>
            <pc:sldMk cId="1298117154" sldId="2147375657"/>
            <ac:spMk id="5" creationId="{E53697AD-4CB4-4638-8680-B13368387A01}"/>
          </ac:spMkLst>
        </pc:spChg>
        <pc:spChg chg="mod">
          <ac:chgData name="Ajwaliya, Nishit" userId="d6171631-3d08-453d-8afd-2dc62a5026e2" providerId="ADAL" clId="{5D66200C-E0A8-4C83-A2B1-EE4C94FD5965}" dt="2021-10-01T12:01:33.033" v="2806" actId="20577"/>
          <ac:spMkLst>
            <pc:docMk/>
            <pc:sldMk cId="1298117154" sldId="2147375657"/>
            <ac:spMk id="8" creationId="{FDB4336B-3DBE-4F71-824A-3B9AD469878A}"/>
          </ac:spMkLst>
        </pc:spChg>
        <pc:graphicFrameChg chg="del">
          <ac:chgData name="Ajwaliya, Nishit" userId="d6171631-3d08-453d-8afd-2dc62a5026e2" providerId="ADAL" clId="{5D66200C-E0A8-4C83-A2B1-EE4C94FD5965}" dt="2021-10-01T12:01:27.895" v="2796" actId="478"/>
          <ac:graphicFrameMkLst>
            <pc:docMk/>
            <pc:sldMk cId="1298117154" sldId="2147375657"/>
            <ac:graphicFrameMk id="4" creationId="{DB7E4C9C-28D7-4695-B220-C1F3D299A506}"/>
          </ac:graphicFrameMkLst>
        </pc:graphicFrameChg>
      </pc:sldChg>
      <pc:sldChg chg="modSp add mod">
        <pc:chgData name="Ajwaliya, Nishit" userId="d6171631-3d08-453d-8afd-2dc62a5026e2" providerId="ADAL" clId="{5D66200C-E0A8-4C83-A2B1-EE4C94FD5965}" dt="2021-10-01T15:58:35.741" v="3617" actId="14734"/>
        <pc:sldMkLst>
          <pc:docMk/>
          <pc:sldMk cId="3074420514" sldId="2147375658"/>
        </pc:sldMkLst>
        <pc:graphicFrameChg chg="mod modGraphic">
          <ac:chgData name="Ajwaliya, Nishit" userId="d6171631-3d08-453d-8afd-2dc62a5026e2" providerId="ADAL" clId="{5D66200C-E0A8-4C83-A2B1-EE4C94FD5965}" dt="2021-10-01T15:58:35.741" v="3617" actId="14734"/>
          <ac:graphicFrameMkLst>
            <pc:docMk/>
            <pc:sldMk cId="3074420514" sldId="2147375658"/>
            <ac:graphicFrameMk id="4" creationId="{DB7E4C9C-28D7-4695-B220-C1F3D299A506}"/>
          </ac:graphicFrameMkLst>
        </pc:graphicFrameChg>
      </pc:sldChg>
    </pc:docChg>
  </pc:docChgLst>
  <pc:docChgLst>
    <pc:chgData name="Ajwaliya, Nishit" userId="d6171631-3d08-453d-8afd-2dc62a5026e2" providerId="ADAL" clId="{6557EC27-E9B7-479E-984A-B3667C7E8930}"/>
    <pc:docChg chg="undo redo custSel addSld delSld modSld sldOrd">
      <pc:chgData name="Ajwaliya, Nishit" userId="d6171631-3d08-453d-8afd-2dc62a5026e2" providerId="ADAL" clId="{6557EC27-E9B7-479E-984A-B3667C7E8930}" dt="2021-08-23T17:36:54.921" v="3829" actId="1037"/>
      <pc:docMkLst>
        <pc:docMk/>
      </pc:docMkLst>
      <pc:sldChg chg="modSp mod">
        <pc:chgData name="Ajwaliya, Nishit" userId="d6171631-3d08-453d-8afd-2dc62a5026e2" providerId="ADAL" clId="{6557EC27-E9B7-479E-984A-B3667C7E8930}" dt="2021-08-18T22:14:36.266" v="3630" actId="14100"/>
        <pc:sldMkLst>
          <pc:docMk/>
          <pc:sldMk cId="136374311" sldId="3947"/>
        </pc:sldMkLst>
        <pc:spChg chg="mod">
          <ac:chgData name="Ajwaliya, Nishit" userId="d6171631-3d08-453d-8afd-2dc62a5026e2" providerId="ADAL" clId="{6557EC27-E9B7-479E-984A-B3667C7E8930}" dt="2021-08-18T22:14:36.266" v="3630" actId="14100"/>
          <ac:spMkLst>
            <pc:docMk/>
            <pc:sldMk cId="136374311" sldId="3947"/>
            <ac:spMk id="2" creationId="{00000000-0000-0000-0000-000000000000}"/>
          </ac:spMkLst>
        </pc:spChg>
        <pc:spChg chg="mod">
          <ac:chgData name="Ajwaliya, Nishit" userId="d6171631-3d08-453d-8afd-2dc62a5026e2" providerId="ADAL" clId="{6557EC27-E9B7-479E-984A-B3667C7E8930}" dt="2021-08-18T22:14:22.608" v="3629" actId="20577"/>
          <ac:spMkLst>
            <pc:docMk/>
            <pc:sldMk cId="136374311" sldId="3947"/>
            <ac:spMk id="3" creationId="{00000000-0000-0000-0000-000000000000}"/>
          </ac:spMkLst>
        </pc:spChg>
      </pc:sldChg>
      <pc:sldChg chg="del">
        <pc:chgData name="Ajwaliya, Nishit" userId="d6171631-3d08-453d-8afd-2dc62a5026e2" providerId="ADAL" clId="{6557EC27-E9B7-479E-984A-B3667C7E8930}" dt="2021-08-18T20:10:27.744" v="1" actId="47"/>
        <pc:sldMkLst>
          <pc:docMk/>
          <pc:sldMk cId="1760984849" sldId="838840200"/>
        </pc:sldMkLst>
      </pc:sldChg>
      <pc:sldChg chg="del">
        <pc:chgData name="Ajwaliya, Nishit" userId="d6171631-3d08-453d-8afd-2dc62a5026e2" providerId="ADAL" clId="{6557EC27-E9B7-479E-984A-B3667C7E8930}" dt="2021-08-18T20:10:27.744" v="1" actId="47"/>
        <pc:sldMkLst>
          <pc:docMk/>
          <pc:sldMk cId="4091386711" sldId="2147307527"/>
        </pc:sldMkLst>
      </pc:sldChg>
      <pc:sldChg chg="del">
        <pc:chgData name="Ajwaliya, Nishit" userId="d6171631-3d08-453d-8afd-2dc62a5026e2" providerId="ADAL" clId="{6557EC27-E9B7-479E-984A-B3667C7E8930}" dt="2021-08-18T20:10:27.744" v="1" actId="47"/>
        <pc:sldMkLst>
          <pc:docMk/>
          <pc:sldMk cId="1982048528" sldId="2147307532"/>
        </pc:sldMkLst>
      </pc:sldChg>
      <pc:sldChg chg="del">
        <pc:chgData name="Ajwaliya, Nishit" userId="d6171631-3d08-453d-8afd-2dc62a5026e2" providerId="ADAL" clId="{6557EC27-E9B7-479E-984A-B3667C7E8930}" dt="2021-08-18T20:10:27.744" v="1" actId="47"/>
        <pc:sldMkLst>
          <pc:docMk/>
          <pc:sldMk cId="2627780967" sldId="2147307533"/>
        </pc:sldMkLst>
      </pc:sldChg>
      <pc:sldChg chg="del">
        <pc:chgData name="Ajwaliya, Nishit" userId="d6171631-3d08-453d-8afd-2dc62a5026e2" providerId="ADAL" clId="{6557EC27-E9B7-479E-984A-B3667C7E8930}" dt="2021-08-18T20:10:27.744" v="1" actId="47"/>
        <pc:sldMkLst>
          <pc:docMk/>
          <pc:sldMk cId="3912816411" sldId="2147307534"/>
        </pc:sldMkLst>
      </pc:sldChg>
      <pc:sldChg chg="del">
        <pc:chgData name="Ajwaliya, Nishit" userId="d6171631-3d08-453d-8afd-2dc62a5026e2" providerId="ADAL" clId="{6557EC27-E9B7-479E-984A-B3667C7E8930}" dt="2021-08-18T20:10:27.744" v="1" actId="47"/>
        <pc:sldMkLst>
          <pc:docMk/>
          <pc:sldMk cId="1689808630" sldId="2147307535"/>
        </pc:sldMkLst>
      </pc:sldChg>
      <pc:sldChg chg="del">
        <pc:chgData name="Ajwaliya, Nishit" userId="d6171631-3d08-453d-8afd-2dc62a5026e2" providerId="ADAL" clId="{6557EC27-E9B7-479E-984A-B3667C7E8930}" dt="2021-08-18T20:10:27.744" v="1" actId="47"/>
        <pc:sldMkLst>
          <pc:docMk/>
          <pc:sldMk cId="1334255141" sldId="2147307536"/>
        </pc:sldMkLst>
      </pc:sldChg>
      <pc:sldChg chg="modSp add del">
        <pc:chgData name="Ajwaliya, Nishit" userId="d6171631-3d08-453d-8afd-2dc62a5026e2" providerId="ADAL" clId="{6557EC27-E9B7-479E-984A-B3667C7E8930}" dt="2021-08-18T21:24:34.607" v="2729" actId="47"/>
        <pc:sldMkLst>
          <pc:docMk/>
          <pc:sldMk cId="1711266274" sldId="2147375396"/>
        </pc:sldMkLst>
        <pc:spChg chg="mod">
          <ac:chgData name="Ajwaliya, Nishit" userId="d6171631-3d08-453d-8afd-2dc62a5026e2" providerId="ADAL" clId="{6557EC27-E9B7-479E-984A-B3667C7E8930}" dt="2021-08-18T20:37:35.181" v="673" actId="1076"/>
          <ac:spMkLst>
            <pc:docMk/>
            <pc:sldMk cId="1711266274" sldId="2147375396"/>
            <ac:spMk id="49" creationId="{6590B425-8063-4A40-9F36-BF23C06742C1}"/>
          </ac:spMkLst>
        </pc:spChg>
      </pc:sldChg>
      <pc:sldChg chg="modSp add del">
        <pc:chgData name="Ajwaliya, Nishit" userId="d6171631-3d08-453d-8afd-2dc62a5026e2" providerId="ADAL" clId="{6557EC27-E9B7-479E-984A-B3667C7E8930}" dt="2021-08-18T22:04:03.741" v="3398" actId="47"/>
        <pc:sldMkLst>
          <pc:docMk/>
          <pc:sldMk cId="3237521633" sldId="2147375397"/>
        </pc:sldMkLst>
        <pc:graphicFrameChg chg="mod">
          <ac:chgData name="Ajwaliya, Nishit" userId="d6171631-3d08-453d-8afd-2dc62a5026e2" providerId="ADAL" clId="{6557EC27-E9B7-479E-984A-B3667C7E8930}" dt="2021-08-18T21:28:41.694" v="2872"/>
          <ac:graphicFrameMkLst>
            <pc:docMk/>
            <pc:sldMk cId="3237521633" sldId="2147375397"/>
            <ac:graphicFrameMk id="3" creationId="{1B15A826-8382-644E-997B-4CEF3E39FFF4}"/>
          </ac:graphicFrameMkLst>
        </pc:graphicFrameChg>
      </pc:sldChg>
      <pc:sldChg chg="addSp delSp modSp add mod">
        <pc:chgData name="Ajwaliya, Nishit" userId="d6171631-3d08-453d-8afd-2dc62a5026e2" providerId="ADAL" clId="{6557EC27-E9B7-479E-984A-B3667C7E8930}" dt="2021-08-18T22:12:16.473" v="3589" actId="1076"/>
        <pc:sldMkLst>
          <pc:docMk/>
          <pc:sldMk cId="1537602166" sldId="2147375398"/>
        </pc:sldMkLst>
        <pc:spChg chg="add del mod">
          <ac:chgData name="Ajwaliya, Nishit" userId="d6171631-3d08-453d-8afd-2dc62a5026e2" providerId="ADAL" clId="{6557EC27-E9B7-479E-984A-B3667C7E8930}" dt="2021-08-18T22:11:21.558" v="3570" actId="478"/>
          <ac:spMkLst>
            <pc:docMk/>
            <pc:sldMk cId="1537602166" sldId="2147375398"/>
            <ac:spMk id="2" creationId="{5B9E9732-E7FF-4247-818A-B073C8C51004}"/>
          </ac:spMkLst>
        </pc:spChg>
        <pc:spChg chg="mod">
          <ac:chgData name="Ajwaliya, Nishit" userId="d6171631-3d08-453d-8afd-2dc62a5026e2" providerId="ADAL" clId="{6557EC27-E9B7-479E-984A-B3667C7E8930}" dt="2021-08-18T22:12:13.265" v="3588" actId="14100"/>
          <ac:spMkLst>
            <pc:docMk/>
            <pc:sldMk cId="1537602166" sldId="2147375398"/>
            <ac:spMk id="3" creationId="{CBF9CB65-45DF-7243-AB36-9EB53127C0EA}"/>
          </ac:spMkLst>
        </pc:spChg>
        <pc:spChg chg="del mod">
          <ac:chgData name="Ajwaliya, Nishit" userId="d6171631-3d08-453d-8afd-2dc62a5026e2" providerId="ADAL" clId="{6557EC27-E9B7-479E-984A-B3667C7E8930}" dt="2021-08-18T22:11:18.133" v="3569" actId="478"/>
          <ac:spMkLst>
            <pc:docMk/>
            <pc:sldMk cId="1537602166" sldId="2147375398"/>
            <ac:spMk id="5" creationId="{131C4A2E-DFC4-7D42-ACE9-C1FD445CA17F}"/>
          </ac:spMkLst>
        </pc:spChg>
        <pc:spChg chg="mod">
          <ac:chgData name="Ajwaliya, Nishit" userId="d6171631-3d08-453d-8afd-2dc62a5026e2" providerId="ADAL" clId="{6557EC27-E9B7-479E-984A-B3667C7E8930}" dt="2021-08-18T22:12:07.653" v="3586" actId="14100"/>
          <ac:spMkLst>
            <pc:docMk/>
            <pc:sldMk cId="1537602166" sldId="2147375398"/>
            <ac:spMk id="6" creationId="{4C1DCD9B-7BBE-0E40-9783-64251E3FF7FC}"/>
          </ac:spMkLst>
        </pc:spChg>
        <pc:spChg chg="mod">
          <ac:chgData name="Ajwaliya, Nishit" userId="d6171631-3d08-453d-8afd-2dc62a5026e2" providerId="ADAL" clId="{6557EC27-E9B7-479E-984A-B3667C7E8930}" dt="2021-08-18T22:12:16.473" v="3589" actId="1076"/>
          <ac:spMkLst>
            <pc:docMk/>
            <pc:sldMk cId="1537602166" sldId="2147375398"/>
            <ac:spMk id="7" creationId="{CBD9E884-6EB9-A84A-98F5-4EF318028BEF}"/>
          </ac:spMkLst>
        </pc:spChg>
        <pc:spChg chg="add mod">
          <ac:chgData name="Ajwaliya, Nishit" userId="d6171631-3d08-453d-8afd-2dc62a5026e2" providerId="ADAL" clId="{6557EC27-E9B7-479E-984A-B3667C7E8930}" dt="2021-08-18T22:11:34.559" v="3580" actId="20577"/>
          <ac:spMkLst>
            <pc:docMk/>
            <pc:sldMk cId="1537602166" sldId="2147375398"/>
            <ac:spMk id="8" creationId="{104C0446-AAB9-4616-8F21-B598BA0CF975}"/>
          </ac:spMkLst>
        </pc:spChg>
      </pc:sldChg>
      <pc:sldChg chg="addSp modSp add mod">
        <pc:chgData name="Ajwaliya, Nishit" userId="d6171631-3d08-453d-8afd-2dc62a5026e2" providerId="ADAL" clId="{6557EC27-E9B7-479E-984A-B3667C7E8930}" dt="2021-08-18T22:12:34.911" v="3594" actId="1076"/>
        <pc:sldMkLst>
          <pc:docMk/>
          <pc:sldMk cId="1534130096" sldId="2147375399"/>
        </pc:sldMkLst>
        <pc:spChg chg="mod">
          <ac:chgData name="Ajwaliya, Nishit" userId="d6171631-3d08-453d-8afd-2dc62a5026e2" providerId="ADAL" clId="{6557EC27-E9B7-479E-984A-B3667C7E8930}" dt="2021-08-18T22:12:21.965" v="3590" actId="1076"/>
          <ac:spMkLst>
            <pc:docMk/>
            <pc:sldMk cId="1534130096" sldId="2147375399"/>
            <ac:spMk id="3" creationId="{259B29ED-FC4B-AE4D-A9AC-E90FF2AA7699}"/>
          </ac:spMkLst>
        </pc:spChg>
        <pc:spChg chg="mod">
          <ac:chgData name="Ajwaliya, Nishit" userId="d6171631-3d08-453d-8afd-2dc62a5026e2" providerId="ADAL" clId="{6557EC27-E9B7-479E-984A-B3667C7E8930}" dt="2021-08-18T22:12:32.438" v="3593" actId="1076"/>
          <ac:spMkLst>
            <pc:docMk/>
            <pc:sldMk cId="1534130096" sldId="2147375399"/>
            <ac:spMk id="5" creationId="{523863A0-F571-9345-A054-56E3D9DF7DE6}"/>
          </ac:spMkLst>
        </pc:spChg>
        <pc:spChg chg="mod">
          <ac:chgData name="Ajwaliya, Nishit" userId="d6171631-3d08-453d-8afd-2dc62a5026e2" providerId="ADAL" clId="{6557EC27-E9B7-479E-984A-B3667C7E8930}" dt="2021-08-18T22:12:29.129" v="3592" actId="1076"/>
          <ac:spMkLst>
            <pc:docMk/>
            <pc:sldMk cId="1534130096" sldId="2147375399"/>
            <ac:spMk id="6" creationId="{67553BEB-BDF3-EE41-A550-B7F9C0BA134E}"/>
          </ac:spMkLst>
        </pc:spChg>
        <pc:spChg chg="mod">
          <ac:chgData name="Ajwaliya, Nishit" userId="d6171631-3d08-453d-8afd-2dc62a5026e2" providerId="ADAL" clId="{6557EC27-E9B7-479E-984A-B3667C7E8930}" dt="2021-08-18T22:12:34.911" v="3594" actId="1076"/>
          <ac:spMkLst>
            <pc:docMk/>
            <pc:sldMk cId="1534130096" sldId="2147375399"/>
            <ac:spMk id="7" creationId="{C8075C54-12FF-3443-9874-1786FEC1E849}"/>
          </ac:spMkLst>
        </pc:spChg>
        <pc:spChg chg="add mod">
          <ac:chgData name="Ajwaliya, Nishit" userId="d6171631-3d08-453d-8afd-2dc62a5026e2" providerId="ADAL" clId="{6557EC27-E9B7-479E-984A-B3667C7E8930}" dt="2021-08-18T22:11:45.634" v="3581"/>
          <ac:spMkLst>
            <pc:docMk/>
            <pc:sldMk cId="1534130096" sldId="2147375399"/>
            <ac:spMk id="8" creationId="{C0085F0C-9719-4304-B4CA-820EA49E0DCE}"/>
          </ac:spMkLst>
        </pc:spChg>
      </pc:sldChg>
      <pc:sldChg chg="addSp delSp modSp add del mod">
        <pc:chgData name="Ajwaliya, Nishit" userId="d6171631-3d08-453d-8afd-2dc62a5026e2" providerId="ADAL" clId="{6557EC27-E9B7-479E-984A-B3667C7E8930}" dt="2021-08-18T22:08:32.215" v="3464" actId="47"/>
        <pc:sldMkLst>
          <pc:docMk/>
          <pc:sldMk cId="3471969501" sldId="2147375401"/>
        </pc:sldMkLst>
        <pc:spChg chg="del">
          <ac:chgData name="Ajwaliya, Nishit" userId="d6171631-3d08-453d-8afd-2dc62a5026e2" providerId="ADAL" clId="{6557EC27-E9B7-479E-984A-B3667C7E8930}" dt="2021-08-18T20:12:40.781" v="15" actId="478"/>
          <ac:spMkLst>
            <pc:docMk/>
            <pc:sldMk cId="3471969501" sldId="2147375401"/>
            <ac:spMk id="2" creationId="{267227C3-E218-2543-B30E-3A9D0A93A85F}"/>
          </ac:spMkLst>
        </pc:spChg>
        <pc:spChg chg="del mod">
          <ac:chgData name="Ajwaliya, Nishit" userId="d6171631-3d08-453d-8afd-2dc62a5026e2" providerId="ADAL" clId="{6557EC27-E9B7-479E-984A-B3667C7E8930}" dt="2021-08-18T20:12:49.266" v="18" actId="478"/>
          <ac:spMkLst>
            <pc:docMk/>
            <pc:sldMk cId="3471969501" sldId="2147375401"/>
            <ac:spMk id="4" creationId="{1EB46E82-31F7-554A-AF85-F50332DD016D}"/>
          </ac:spMkLst>
        </pc:spChg>
        <pc:spChg chg="mod">
          <ac:chgData name="Ajwaliya, Nishit" userId="d6171631-3d08-453d-8afd-2dc62a5026e2" providerId="ADAL" clId="{6557EC27-E9B7-479E-984A-B3667C7E8930}" dt="2021-08-18T20:13:04.898" v="22" actId="14100"/>
          <ac:spMkLst>
            <pc:docMk/>
            <pc:sldMk cId="3471969501" sldId="2147375401"/>
            <ac:spMk id="5" creationId="{F3844556-A29A-0A4B-B7CD-0360A9EA1EB5}"/>
          </ac:spMkLst>
        </pc:spChg>
        <pc:spChg chg="add del mod">
          <ac:chgData name="Ajwaliya, Nishit" userId="d6171631-3d08-453d-8afd-2dc62a5026e2" providerId="ADAL" clId="{6557EC27-E9B7-479E-984A-B3667C7E8930}" dt="2021-08-18T20:12:43.392" v="16" actId="478"/>
          <ac:spMkLst>
            <pc:docMk/>
            <pc:sldMk cId="3471969501" sldId="2147375401"/>
            <ac:spMk id="6" creationId="{319A1112-D9DC-4F7D-AB93-942DFDD0CBD3}"/>
          </ac:spMkLst>
        </pc:spChg>
        <pc:spChg chg="add del mod">
          <ac:chgData name="Ajwaliya, Nishit" userId="d6171631-3d08-453d-8afd-2dc62a5026e2" providerId="ADAL" clId="{6557EC27-E9B7-479E-984A-B3667C7E8930}" dt="2021-08-18T20:38:19.135" v="707" actId="478"/>
          <ac:spMkLst>
            <pc:docMk/>
            <pc:sldMk cId="3471969501" sldId="2147375401"/>
            <ac:spMk id="7" creationId="{B8BD3A14-3A39-42F6-B0C8-EE452CA2BE3F}"/>
          </ac:spMkLst>
        </pc:spChg>
        <pc:spChg chg="add del mod">
          <ac:chgData name="Ajwaliya, Nishit" userId="d6171631-3d08-453d-8afd-2dc62a5026e2" providerId="ADAL" clId="{6557EC27-E9B7-479E-984A-B3667C7E8930}" dt="2021-08-18T20:38:29.275" v="709" actId="478"/>
          <ac:spMkLst>
            <pc:docMk/>
            <pc:sldMk cId="3471969501" sldId="2147375401"/>
            <ac:spMk id="8" creationId="{E976B1F0-37E9-4435-904C-CA481E31579F}"/>
          </ac:spMkLst>
        </pc:spChg>
        <pc:spChg chg="add mod">
          <ac:chgData name="Ajwaliya, Nishit" userId="d6171631-3d08-453d-8afd-2dc62a5026e2" providerId="ADAL" clId="{6557EC27-E9B7-479E-984A-B3667C7E8930}" dt="2021-08-18T20:38:39.930" v="720" actId="20577"/>
          <ac:spMkLst>
            <pc:docMk/>
            <pc:sldMk cId="3471969501" sldId="2147375401"/>
            <ac:spMk id="9" creationId="{02E6729F-0F9D-4A36-81C2-DE8EC8FBF676}"/>
          </ac:spMkLst>
        </pc:spChg>
        <pc:graphicFrameChg chg="mod modGraphic">
          <ac:chgData name="Ajwaliya, Nishit" userId="d6171631-3d08-453d-8afd-2dc62a5026e2" providerId="ADAL" clId="{6557EC27-E9B7-479E-984A-B3667C7E8930}" dt="2021-08-18T20:27:51.514" v="452" actId="255"/>
          <ac:graphicFrameMkLst>
            <pc:docMk/>
            <pc:sldMk cId="3471969501" sldId="2147375401"/>
            <ac:graphicFrameMk id="3" creationId="{51A0B19B-9485-5849-BAEC-B4B6D08E5D0F}"/>
          </ac:graphicFrameMkLst>
        </pc:graphicFrameChg>
      </pc:sldChg>
      <pc:sldChg chg="modSp add mod">
        <pc:chgData name="Ajwaliya, Nishit" userId="d6171631-3d08-453d-8afd-2dc62a5026e2" providerId="ADAL" clId="{6557EC27-E9B7-479E-984A-B3667C7E8930}" dt="2021-08-18T22:09:16.413" v="3533" actId="1035"/>
        <pc:sldMkLst>
          <pc:docMk/>
          <pc:sldMk cId="2550631324" sldId="2147375402"/>
        </pc:sldMkLst>
        <pc:spChg chg="mod">
          <ac:chgData name="Ajwaliya, Nishit" userId="d6171631-3d08-453d-8afd-2dc62a5026e2" providerId="ADAL" clId="{6557EC27-E9B7-479E-984A-B3667C7E8930}" dt="2021-08-18T20:10:55.565" v="10" actId="207"/>
          <ac:spMkLst>
            <pc:docMk/>
            <pc:sldMk cId="2550631324" sldId="2147375402"/>
            <ac:spMk id="14" creationId="{B1EC4B3C-1664-4619-B10F-D1B178F08584}"/>
          </ac:spMkLst>
        </pc:spChg>
        <pc:spChg chg="mod">
          <ac:chgData name="Ajwaliya, Nishit" userId="d6171631-3d08-453d-8afd-2dc62a5026e2" providerId="ADAL" clId="{6557EC27-E9B7-479E-984A-B3667C7E8930}" dt="2021-08-18T20:10:55.565" v="10" actId="207"/>
          <ac:spMkLst>
            <pc:docMk/>
            <pc:sldMk cId="2550631324" sldId="2147375402"/>
            <ac:spMk id="35" creationId="{FA0B5A33-833A-4D3B-A21F-6E2F0A43055E}"/>
          </ac:spMkLst>
        </pc:spChg>
        <pc:spChg chg="mod">
          <ac:chgData name="Ajwaliya, Nishit" userId="d6171631-3d08-453d-8afd-2dc62a5026e2" providerId="ADAL" clId="{6557EC27-E9B7-479E-984A-B3667C7E8930}" dt="2021-08-18T22:09:16.413" v="3533" actId="1035"/>
          <ac:spMkLst>
            <pc:docMk/>
            <pc:sldMk cId="2550631324" sldId="2147375402"/>
            <ac:spMk id="72" creationId="{FFB70C3C-F3B7-4840-A627-55893896AE8A}"/>
          </ac:spMkLst>
        </pc:spChg>
        <pc:spChg chg="mod">
          <ac:chgData name="Ajwaliya, Nishit" userId="d6171631-3d08-453d-8afd-2dc62a5026e2" providerId="ADAL" clId="{6557EC27-E9B7-479E-984A-B3667C7E8930}" dt="2021-08-18T22:09:16.413" v="3533" actId="1035"/>
          <ac:spMkLst>
            <pc:docMk/>
            <pc:sldMk cId="2550631324" sldId="2147375402"/>
            <ac:spMk id="76" creationId="{2A94DF80-448B-47F9-A25C-984A02D1871A}"/>
          </ac:spMkLst>
        </pc:spChg>
        <pc:spChg chg="mod">
          <ac:chgData name="Ajwaliya, Nishit" userId="d6171631-3d08-453d-8afd-2dc62a5026e2" providerId="ADAL" clId="{6557EC27-E9B7-479E-984A-B3667C7E8930}" dt="2021-08-18T22:09:16.413" v="3533" actId="1035"/>
          <ac:spMkLst>
            <pc:docMk/>
            <pc:sldMk cId="2550631324" sldId="2147375402"/>
            <ac:spMk id="78" creationId="{0F3D8327-6B45-40F4-A00D-753928F674FF}"/>
          </ac:spMkLst>
        </pc:spChg>
        <pc:spChg chg="mod">
          <ac:chgData name="Ajwaliya, Nishit" userId="d6171631-3d08-453d-8afd-2dc62a5026e2" providerId="ADAL" clId="{6557EC27-E9B7-479E-984A-B3667C7E8930}" dt="2021-08-18T22:09:16.413" v="3533" actId="1035"/>
          <ac:spMkLst>
            <pc:docMk/>
            <pc:sldMk cId="2550631324" sldId="2147375402"/>
            <ac:spMk id="79" creationId="{A99EFCF8-6605-4433-A4BA-F727AEC9C642}"/>
          </ac:spMkLst>
        </pc:spChg>
        <pc:spChg chg="mod">
          <ac:chgData name="Ajwaliya, Nishit" userId="d6171631-3d08-453d-8afd-2dc62a5026e2" providerId="ADAL" clId="{6557EC27-E9B7-479E-984A-B3667C7E8930}" dt="2021-08-18T22:09:16.413" v="3533" actId="1035"/>
          <ac:spMkLst>
            <pc:docMk/>
            <pc:sldMk cId="2550631324" sldId="2147375402"/>
            <ac:spMk id="81" creationId="{95E6E6CD-3D71-443B-85FC-D7A44F72446F}"/>
          </ac:spMkLst>
        </pc:spChg>
        <pc:spChg chg="mod">
          <ac:chgData name="Ajwaliya, Nishit" userId="d6171631-3d08-453d-8afd-2dc62a5026e2" providerId="ADAL" clId="{6557EC27-E9B7-479E-984A-B3667C7E8930}" dt="2021-08-18T22:09:16.413" v="3533" actId="1035"/>
          <ac:spMkLst>
            <pc:docMk/>
            <pc:sldMk cId="2550631324" sldId="2147375402"/>
            <ac:spMk id="82" creationId="{546C7FB9-E524-454A-BFA1-09BDD3B92245}"/>
          </ac:spMkLst>
        </pc:spChg>
        <pc:graphicFrameChg chg="mod">
          <ac:chgData name="Ajwaliya, Nishit" userId="d6171631-3d08-453d-8afd-2dc62a5026e2" providerId="ADAL" clId="{6557EC27-E9B7-479E-984A-B3667C7E8930}" dt="2021-08-18T20:11:01.699" v="11" actId="207"/>
          <ac:graphicFrameMkLst>
            <pc:docMk/>
            <pc:sldMk cId="2550631324" sldId="2147375402"/>
            <ac:graphicFrameMk id="5" creationId="{92846E76-02DB-413F-AD35-F5C6272DE493}"/>
          </ac:graphicFrameMkLst>
        </pc:graphicFrameChg>
      </pc:sldChg>
      <pc:sldChg chg="modSp add mod setBg">
        <pc:chgData name="Ajwaliya, Nishit" userId="d6171631-3d08-453d-8afd-2dc62a5026e2" providerId="ADAL" clId="{6557EC27-E9B7-479E-984A-B3667C7E8930}" dt="2021-08-23T17:36:54.921" v="3829" actId="1037"/>
        <pc:sldMkLst>
          <pc:docMk/>
          <pc:sldMk cId="2625256309" sldId="2147375403"/>
        </pc:sldMkLst>
        <pc:spChg chg="mod">
          <ac:chgData name="Ajwaliya, Nishit" userId="d6171631-3d08-453d-8afd-2dc62a5026e2" providerId="ADAL" clId="{6557EC27-E9B7-479E-984A-B3667C7E8930}" dt="2021-08-18T20:11:20.190" v="14" actId="207"/>
          <ac:spMkLst>
            <pc:docMk/>
            <pc:sldMk cId="2625256309" sldId="2147375403"/>
            <ac:spMk id="24" creationId="{51CBDB4A-E47C-4D33-90B1-78DB8CC87FAD}"/>
          </ac:spMkLst>
        </pc:spChg>
        <pc:spChg chg="mod">
          <ac:chgData name="Ajwaliya, Nishit" userId="d6171631-3d08-453d-8afd-2dc62a5026e2" providerId="ADAL" clId="{6557EC27-E9B7-479E-984A-B3667C7E8930}" dt="2021-08-23T17:35:50.610" v="3807" actId="14100"/>
          <ac:spMkLst>
            <pc:docMk/>
            <pc:sldMk cId="2625256309" sldId="2147375403"/>
            <ac:spMk id="27" creationId="{85F66EDB-75E1-489D-9EC8-27D0210CA2BC}"/>
          </ac:spMkLst>
        </pc:spChg>
        <pc:spChg chg="mod">
          <ac:chgData name="Ajwaliya, Nishit" userId="d6171631-3d08-453d-8afd-2dc62a5026e2" providerId="ADAL" clId="{6557EC27-E9B7-479E-984A-B3667C7E8930}" dt="2021-08-18T20:11:17.305" v="13" actId="207"/>
          <ac:spMkLst>
            <pc:docMk/>
            <pc:sldMk cId="2625256309" sldId="2147375403"/>
            <ac:spMk id="40" creationId="{BAAC8560-0337-4D10-BD9F-08EEF3F7E315}"/>
          </ac:spMkLst>
        </pc:spChg>
        <pc:spChg chg="mod">
          <ac:chgData name="Ajwaliya, Nishit" userId="d6171631-3d08-453d-8afd-2dc62a5026e2" providerId="ADAL" clId="{6557EC27-E9B7-479E-984A-B3667C7E8930}" dt="2021-08-23T17:36:13.308" v="3825" actId="20577"/>
          <ac:spMkLst>
            <pc:docMk/>
            <pc:sldMk cId="2625256309" sldId="2147375403"/>
            <ac:spMk id="64" creationId="{F7667129-9058-4673-B134-F28171A869E9}"/>
          </ac:spMkLst>
        </pc:spChg>
        <pc:spChg chg="mod">
          <ac:chgData name="Ajwaliya, Nishit" userId="d6171631-3d08-453d-8afd-2dc62a5026e2" providerId="ADAL" clId="{6557EC27-E9B7-479E-984A-B3667C7E8930}" dt="2021-08-18T22:09:00.279" v="3490" actId="1035"/>
          <ac:spMkLst>
            <pc:docMk/>
            <pc:sldMk cId="2625256309" sldId="2147375403"/>
            <ac:spMk id="72" creationId="{FFB70C3C-F3B7-4840-A627-55893896AE8A}"/>
          </ac:spMkLst>
        </pc:spChg>
        <pc:spChg chg="mod">
          <ac:chgData name="Ajwaliya, Nishit" userId="d6171631-3d08-453d-8afd-2dc62a5026e2" providerId="ADAL" clId="{6557EC27-E9B7-479E-984A-B3667C7E8930}" dt="2021-08-18T22:09:05.671" v="3498" actId="1036"/>
          <ac:spMkLst>
            <pc:docMk/>
            <pc:sldMk cId="2625256309" sldId="2147375403"/>
            <ac:spMk id="76" creationId="{2A94DF80-448B-47F9-A25C-984A02D1871A}"/>
          </ac:spMkLst>
        </pc:spChg>
        <pc:spChg chg="mod">
          <ac:chgData name="Ajwaliya, Nishit" userId="d6171631-3d08-453d-8afd-2dc62a5026e2" providerId="ADAL" clId="{6557EC27-E9B7-479E-984A-B3667C7E8930}" dt="2021-08-18T22:09:05.671" v="3498" actId="1036"/>
          <ac:spMkLst>
            <pc:docMk/>
            <pc:sldMk cId="2625256309" sldId="2147375403"/>
            <ac:spMk id="78" creationId="{0F3D8327-6B45-40F4-A00D-753928F674FF}"/>
          </ac:spMkLst>
        </pc:spChg>
        <pc:spChg chg="mod">
          <ac:chgData name="Ajwaliya, Nishit" userId="d6171631-3d08-453d-8afd-2dc62a5026e2" providerId="ADAL" clId="{6557EC27-E9B7-479E-984A-B3667C7E8930}" dt="2021-08-18T22:09:05.671" v="3498" actId="1036"/>
          <ac:spMkLst>
            <pc:docMk/>
            <pc:sldMk cId="2625256309" sldId="2147375403"/>
            <ac:spMk id="79" creationId="{A99EFCF8-6605-4433-A4BA-F727AEC9C642}"/>
          </ac:spMkLst>
        </pc:spChg>
        <pc:spChg chg="mod">
          <ac:chgData name="Ajwaliya, Nishit" userId="d6171631-3d08-453d-8afd-2dc62a5026e2" providerId="ADAL" clId="{6557EC27-E9B7-479E-984A-B3667C7E8930}" dt="2021-08-18T22:09:05.671" v="3498" actId="1036"/>
          <ac:spMkLst>
            <pc:docMk/>
            <pc:sldMk cId="2625256309" sldId="2147375403"/>
            <ac:spMk id="81" creationId="{95E6E6CD-3D71-443B-85FC-D7A44F72446F}"/>
          </ac:spMkLst>
        </pc:spChg>
        <pc:spChg chg="mod">
          <ac:chgData name="Ajwaliya, Nishit" userId="d6171631-3d08-453d-8afd-2dc62a5026e2" providerId="ADAL" clId="{6557EC27-E9B7-479E-984A-B3667C7E8930}" dt="2021-08-18T22:09:05.671" v="3498" actId="1036"/>
          <ac:spMkLst>
            <pc:docMk/>
            <pc:sldMk cId="2625256309" sldId="2147375403"/>
            <ac:spMk id="82" creationId="{546C7FB9-E524-454A-BFA1-09BDD3B92245}"/>
          </ac:spMkLst>
        </pc:spChg>
        <pc:graphicFrameChg chg="mod">
          <ac:chgData name="Ajwaliya, Nishit" userId="d6171631-3d08-453d-8afd-2dc62a5026e2" providerId="ADAL" clId="{6557EC27-E9B7-479E-984A-B3667C7E8930}" dt="2021-08-18T20:11:10.179" v="12" actId="207"/>
          <ac:graphicFrameMkLst>
            <pc:docMk/>
            <pc:sldMk cId="2625256309" sldId="2147375403"/>
            <ac:graphicFrameMk id="5" creationId="{92846E76-02DB-413F-AD35-F5C6272DE493}"/>
          </ac:graphicFrameMkLst>
        </pc:graphicFrameChg>
        <pc:cxnChg chg="mod">
          <ac:chgData name="Ajwaliya, Nishit" userId="d6171631-3d08-453d-8afd-2dc62a5026e2" providerId="ADAL" clId="{6557EC27-E9B7-479E-984A-B3667C7E8930}" dt="2021-08-23T17:36:54.921" v="3829" actId="1037"/>
          <ac:cxnSpMkLst>
            <pc:docMk/>
            <pc:sldMk cId="2625256309" sldId="2147375403"/>
            <ac:cxnSpMk id="63" creationId="{AA3F8273-92F5-4D9C-96DD-4E3CC29D204A}"/>
          </ac:cxnSpMkLst>
        </pc:cxnChg>
      </pc:sldChg>
      <pc:sldChg chg="add del">
        <pc:chgData name="Ajwaliya, Nishit" userId="d6171631-3d08-453d-8afd-2dc62a5026e2" providerId="ADAL" clId="{6557EC27-E9B7-479E-984A-B3667C7E8930}" dt="2021-08-18T22:13:14.738" v="3609" actId="47"/>
        <pc:sldMkLst>
          <pc:docMk/>
          <pc:sldMk cId="2637781390" sldId="2147375641"/>
        </pc:sldMkLst>
      </pc:sldChg>
      <pc:sldChg chg="addSp delSp modSp add mod">
        <pc:chgData name="Ajwaliya, Nishit" userId="d6171631-3d08-453d-8afd-2dc62a5026e2" providerId="ADAL" clId="{6557EC27-E9B7-479E-984A-B3667C7E8930}" dt="2021-08-23T17:20:38.633" v="3806" actId="14100"/>
        <pc:sldMkLst>
          <pc:docMk/>
          <pc:sldMk cId="1536676795" sldId="2147375642"/>
        </pc:sldMkLst>
        <pc:spChg chg="add del mod">
          <ac:chgData name="Ajwaliya, Nishit" userId="d6171631-3d08-453d-8afd-2dc62a5026e2" providerId="ADAL" clId="{6557EC27-E9B7-479E-984A-B3667C7E8930}" dt="2021-08-18T20:39:00.549" v="723" actId="478"/>
          <ac:spMkLst>
            <pc:docMk/>
            <pc:sldMk cId="1536676795" sldId="2147375642"/>
            <ac:spMk id="4" creationId="{40648581-2452-4E33-9428-A33E0E077A9A}"/>
          </ac:spMkLst>
        </pc:spChg>
        <pc:spChg chg="add del mod">
          <ac:chgData name="Ajwaliya, Nishit" userId="d6171631-3d08-453d-8afd-2dc62a5026e2" providerId="ADAL" clId="{6557EC27-E9B7-479E-984A-B3667C7E8930}" dt="2021-08-23T17:20:38.633" v="3806" actId="14100"/>
          <ac:spMkLst>
            <pc:docMk/>
            <pc:sldMk cId="1536676795" sldId="2147375642"/>
            <ac:spMk id="5" creationId="{F3844556-A29A-0A4B-B7CD-0360A9EA1EB5}"/>
          </ac:spMkLst>
        </pc:spChg>
        <pc:spChg chg="add mod">
          <ac:chgData name="Ajwaliya, Nishit" userId="d6171631-3d08-453d-8afd-2dc62a5026e2" providerId="ADAL" clId="{6557EC27-E9B7-479E-984A-B3667C7E8930}" dt="2021-08-23T17:15:39.575" v="3747" actId="14100"/>
          <ac:spMkLst>
            <pc:docMk/>
            <pc:sldMk cId="1536676795" sldId="2147375642"/>
            <ac:spMk id="6" creationId="{E3C30861-71B2-4EA6-94D5-A0242EFC51EF}"/>
          </ac:spMkLst>
        </pc:spChg>
        <pc:spChg chg="del mod">
          <ac:chgData name="Ajwaliya, Nishit" userId="d6171631-3d08-453d-8afd-2dc62a5026e2" providerId="ADAL" clId="{6557EC27-E9B7-479E-984A-B3667C7E8930}" dt="2021-08-18T20:38:55.792" v="721" actId="478"/>
          <ac:spMkLst>
            <pc:docMk/>
            <pc:sldMk cId="1536676795" sldId="2147375642"/>
            <ac:spMk id="7" creationId="{B8BD3A14-3A39-42F6-B0C8-EE452CA2BE3F}"/>
          </ac:spMkLst>
        </pc:spChg>
        <pc:spChg chg="add mod">
          <ac:chgData name="Ajwaliya, Nishit" userId="d6171631-3d08-453d-8afd-2dc62a5026e2" providerId="ADAL" clId="{6557EC27-E9B7-479E-984A-B3667C7E8930}" dt="2021-08-18T20:39:04.229" v="734" actId="20577"/>
          <ac:spMkLst>
            <pc:docMk/>
            <pc:sldMk cId="1536676795" sldId="2147375642"/>
            <ac:spMk id="8" creationId="{FDB4336B-3DBE-4F71-824A-3B9AD469878A}"/>
          </ac:spMkLst>
        </pc:spChg>
        <pc:graphicFrameChg chg="add mod modGraphic">
          <ac:chgData name="Ajwaliya, Nishit" userId="d6171631-3d08-453d-8afd-2dc62a5026e2" providerId="ADAL" clId="{6557EC27-E9B7-479E-984A-B3667C7E8930}" dt="2021-08-23T17:16:04.756" v="3748" actId="14100"/>
          <ac:graphicFrameMkLst>
            <pc:docMk/>
            <pc:sldMk cId="1536676795" sldId="2147375642"/>
            <ac:graphicFrameMk id="2" creationId="{59907ED8-794C-4E83-8AB7-EC88DD68083F}"/>
          </ac:graphicFrameMkLst>
        </pc:graphicFrameChg>
        <pc:graphicFrameChg chg="del">
          <ac:chgData name="Ajwaliya, Nishit" userId="d6171631-3d08-453d-8afd-2dc62a5026e2" providerId="ADAL" clId="{6557EC27-E9B7-479E-984A-B3667C7E8930}" dt="2021-08-18T20:20:00.840" v="105" actId="478"/>
          <ac:graphicFrameMkLst>
            <pc:docMk/>
            <pc:sldMk cId="1536676795" sldId="2147375642"/>
            <ac:graphicFrameMk id="3" creationId="{51A0B19B-9485-5849-BAEC-B4B6D08E5D0F}"/>
          </ac:graphicFrameMkLst>
        </pc:graphicFrameChg>
      </pc:sldChg>
      <pc:sldChg chg="add del">
        <pc:chgData name="Ajwaliya, Nishit" userId="d6171631-3d08-453d-8afd-2dc62a5026e2" providerId="ADAL" clId="{6557EC27-E9B7-479E-984A-B3667C7E8930}" dt="2021-08-18T20:27:30.642" v="451" actId="47"/>
        <pc:sldMkLst>
          <pc:docMk/>
          <pc:sldMk cId="42830499" sldId="2147375643"/>
        </pc:sldMkLst>
      </pc:sldChg>
      <pc:sldChg chg="addSp delSp modSp add mod ord">
        <pc:chgData name="Ajwaliya, Nishit" userId="d6171631-3d08-453d-8afd-2dc62a5026e2" providerId="ADAL" clId="{6557EC27-E9B7-479E-984A-B3667C7E8930}" dt="2021-08-18T21:25:56.341" v="2802" actId="20577"/>
        <pc:sldMkLst>
          <pc:docMk/>
          <pc:sldMk cId="3248382154" sldId="2147375643"/>
        </pc:sldMkLst>
        <pc:spChg chg="del">
          <ac:chgData name="Ajwaliya, Nishit" userId="d6171631-3d08-453d-8afd-2dc62a5026e2" providerId="ADAL" clId="{6557EC27-E9B7-479E-984A-B3667C7E8930}" dt="2021-08-18T20:39:39.626" v="739" actId="478"/>
          <ac:spMkLst>
            <pc:docMk/>
            <pc:sldMk cId="3248382154" sldId="2147375643"/>
            <ac:spMk id="5" creationId="{F3844556-A29A-0A4B-B7CD-0360A9EA1EB5}"/>
          </ac:spMkLst>
        </pc:spChg>
        <pc:spChg chg="mod">
          <ac:chgData name="Ajwaliya, Nishit" userId="d6171631-3d08-453d-8afd-2dc62a5026e2" providerId="ADAL" clId="{6557EC27-E9B7-479E-984A-B3667C7E8930}" dt="2021-08-18T20:40:03.178" v="740" actId="2711"/>
          <ac:spMkLst>
            <pc:docMk/>
            <pc:sldMk cId="3248382154" sldId="2147375643"/>
            <ac:spMk id="8" creationId="{FDB4336B-3DBE-4F71-824A-3B9AD469878A}"/>
          </ac:spMkLst>
        </pc:spChg>
        <pc:graphicFrameChg chg="mod modGraphic">
          <ac:chgData name="Ajwaliya, Nishit" userId="d6171631-3d08-453d-8afd-2dc62a5026e2" providerId="ADAL" clId="{6557EC27-E9B7-479E-984A-B3667C7E8930}" dt="2021-08-18T21:25:56.341" v="2802" actId="20577"/>
          <ac:graphicFrameMkLst>
            <pc:docMk/>
            <pc:sldMk cId="3248382154" sldId="2147375643"/>
            <ac:graphicFrameMk id="2" creationId="{59907ED8-794C-4E83-8AB7-EC88DD68083F}"/>
          </ac:graphicFrameMkLst>
        </pc:graphicFrameChg>
        <pc:graphicFrameChg chg="add mod modGraphic">
          <ac:chgData name="Ajwaliya, Nishit" userId="d6171631-3d08-453d-8afd-2dc62a5026e2" providerId="ADAL" clId="{6557EC27-E9B7-479E-984A-B3667C7E8930}" dt="2021-08-18T21:25:41.763" v="2801" actId="20577"/>
          <ac:graphicFrameMkLst>
            <pc:docMk/>
            <pc:sldMk cId="3248382154" sldId="2147375643"/>
            <ac:graphicFrameMk id="6" creationId="{33F16851-9271-4133-BD17-1532D22892B0}"/>
          </ac:graphicFrameMkLst>
        </pc:graphicFrameChg>
      </pc:sldChg>
      <pc:sldChg chg="delSp modSp add mod">
        <pc:chgData name="Ajwaliya, Nishit" userId="d6171631-3d08-453d-8afd-2dc62a5026e2" providerId="ADAL" clId="{6557EC27-E9B7-479E-984A-B3667C7E8930}" dt="2021-08-18T22:32:11.739" v="3654" actId="20577"/>
        <pc:sldMkLst>
          <pc:docMk/>
          <pc:sldMk cId="719968230" sldId="2147375644"/>
        </pc:sldMkLst>
        <pc:spChg chg="mod">
          <ac:chgData name="Ajwaliya, Nishit" userId="d6171631-3d08-453d-8afd-2dc62a5026e2" providerId="ADAL" clId="{6557EC27-E9B7-479E-984A-B3667C7E8930}" dt="2021-08-18T22:10:55.611" v="3567" actId="20577"/>
          <ac:spMkLst>
            <pc:docMk/>
            <pc:sldMk cId="719968230" sldId="2147375644"/>
            <ac:spMk id="8" creationId="{FDB4336B-3DBE-4F71-824A-3B9AD469878A}"/>
          </ac:spMkLst>
        </pc:spChg>
        <pc:graphicFrameChg chg="mod modGraphic">
          <ac:chgData name="Ajwaliya, Nishit" userId="d6171631-3d08-453d-8afd-2dc62a5026e2" providerId="ADAL" clId="{6557EC27-E9B7-479E-984A-B3667C7E8930}" dt="2021-08-18T22:32:11.739" v="3654" actId="20577"/>
          <ac:graphicFrameMkLst>
            <pc:docMk/>
            <pc:sldMk cId="719968230" sldId="2147375644"/>
            <ac:graphicFrameMk id="2" creationId="{59907ED8-794C-4E83-8AB7-EC88DD68083F}"/>
          </ac:graphicFrameMkLst>
        </pc:graphicFrameChg>
        <pc:graphicFrameChg chg="del">
          <ac:chgData name="Ajwaliya, Nishit" userId="d6171631-3d08-453d-8afd-2dc62a5026e2" providerId="ADAL" clId="{6557EC27-E9B7-479E-984A-B3667C7E8930}" dt="2021-08-18T21:27:53.808" v="2870" actId="478"/>
          <ac:graphicFrameMkLst>
            <pc:docMk/>
            <pc:sldMk cId="719968230" sldId="2147375644"/>
            <ac:graphicFrameMk id="6" creationId="{33F16851-9271-4133-BD17-1532D22892B0}"/>
          </ac:graphicFrameMkLst>
        </pc:graphicFrameChg>
      </pc:sldChg>
      <pc:sldChg chg="addSp delSp modSp add mod">
        <pc:chgData name="Ajwaliya, Nishit" userId="d6171631-3d08-453d-8afd-2dc62a5026e2" providerId="ADAL" clId="{6557EC27-E9B7-479E-984A-B3667C7E8930}" dt="2021-08-18T22:14:57.779" v="3631" actId="313"/>
        <pc:sldMkLst>
          <pc:docMk/>
          <pc:sldMk cId="1158127309" sldId="2147375645"/>
        </pc:sldMkLst>
        <pc:spChg chg="mod">
          <ac:chgData name="Ajwaliya, Nishit" userId="d6171631-3d08-453d-8afd-2dc62a5026e2" providerId="ADAL" clId="{6557EC27-E9B7-479E-984A-B3667C7E8930}" dt="2021-08-18T22:14:57.779" v="3631" actId="313"/>
          <ac:spMkLst>
            <pc:docMk/>
            <pc:sldMk cId="1158127309" sldId="2147375645"/>
            <ac:spMk id="8" creationId="{FDB4336B-3DBE-4F71-824A-3B9AD469878A}"/>
          </ac:spMkLst>
        </pc:spChg>
        <pc:graphicFrameChg chg="del mod modGraphic">
          <ac:chgData name="Ajwaliya, Nishit" userId="d6171631-3d08-453d-8afd-2dc62a5026e2" providerId="ADAL" clId="{6557EC27-E9B7-479E-984A-B3667C7E8930}" dt="2021-08-18T22:06:56.008" v="3444" actId="478"/>
          <ac:graphicFrameMkLst>
            <pc:docMk/>
            <pc:sldMk cId="1158127309" sldId="2147375645"/>
            <ac:graphicFrameMk id="2" creationId="{59907ED8-794C-4E83-8AB7-EC88DD68083F}"/>
          </ac:graphicFrameMkLst>
        </pc:graphicFrameChg>
        <pc:graphicFrameChg chg="add mod modGraphic">
          <ac:chgData name="Ajwaliya, Nishit" userId="d6171631-3d08-453d-8afd-2dc62a5026e2" providerId="ADAL" clId="{6557EC27-E9B7-479E-984A-B3667C7E8930}" dt="2021-08-18T22:08:17.621" v="3463" actId="14734"/>
          <ac:graphicFrameMkLst>
            <pc:docMk/>
            <pc:sldMk cId="1158127309" sldId="2147375645"/>
            <ac:graphicFrameMk id="4" creationId="{DB7E4C9C-28D7-4695-B220-C1F3D299A506}"/>
          </ac:graphicFrameMkLst>
        </pc:graphicFrameChg>
      </pc:sldChg>
      <pc:sldMasterChg chg="delSldLayout">
        <pc:chgData name="Ajwaliya, Nishit" userId="d6171631-3d08-453d-8afd-2dc62a5026e2" providerId="ADAL" clId="{6557EC27-E9B7-479E-984A-B3667C7E8930}" dt="2021-08-18T20:10:27.744" v="1" actId="47"/>
        <pc:sldMasterMkLst>
          <pc:docMk/>
          <pc:sldMasterMk cId="0" sldId="2147483651"/>
        </pc:sldMasterMkLst>
        <pc:sldLayoutChg chg="del">
          <pc:chgData name="Ajwaliya, Nishit" userId="d6171631-3d08-453d-8afd-2dc62a5026e2" providerId="ADAL" clId="{6557EC27-E9B7-479E-984A-B3667C7E8930}" dt="2021-08-18T20:10:27.744" v="1" actId="47"/>
          <pc:sldLayoutMkLst>
            <pc:docMk/>
            <pc:sldMasterMk cId="0" sldId="2147483651"/>
            <pc:sldLayoutMk cId="3807854259" sldId="2147483819"/>
          </pc:sldLayoutMkLst>
        </pc:sldLayoutChg>
      </pc:sldMasterChg>
    </pc:docChg>
  </pc:docChgLst>
  <pc:docChgLst>
    <pc:chgData name="Ajwaliya, Nishit" userId="S::nishit.ajwaliya@us.nationalgrid.com::d6171631-3d08-453d-8afd-2dc62a5026e2" providerId="AD" clId="Web-{5DEDD97E-77FF-B394-99EB-45EC9AB88778}"/>
    <pc:docChg chg="modSld">
      <pc:chgData name="Ajwaliya, Nishit" userId="S::nishit.ajwaliya@us.nationalgrid.com::d6171631-3d08-453d-8afd-2dc62a5026e2" providerId="AD" clId="Web-{5DEDD97E-77FF-B394-99EB-45EC9AB88778}" dt="2021-10-04T16:07:31.229" v="159"/>
      <pc:docMkLst>
        <pc:docMk/>
      </pc:docMkLst>
      <pc:sldChg chg="modSp">
        <pc:chgData name="Ajwaliya, Nishit" userId="S::nishit.ajwaliya@us.nationalgrid.com::d6171631-3d08-453d-8afd-2dc62a5026e2" providerId="AD" clId="Web-{5DEDD97E-77FF-B394-99EB-45EC9AB88778}" dt="2021-10-04T16:07:31.229" v="159"/>
        <pc:sldMkLst>
          <pc:docMk/>
          <pc:sldMk cId="3074420514" sldId="2147375658"/>
        </pc:sldMkLst>
        <pc:graphicFrameChg chg="mod modGraphic">
          <ac:chgData name="Ajwaliya, Nishit" userId="S::nishit.ajwaliya@us.nationalgrid.com::d6171631-3d08-453d-8afd-2dc62a5026e2" providerId="AD" clId="Web-{5DEDD97E-77FF-B394-99EB-45EC9AB88778}" dt="2021-10-04T16:07:31.229" v="159"/>
          <ac:graphicFrameMkLst>
            <pc:docMk/>
            <pc:sldMk cId="3074420514" sldId="2147375658"/>
            <ac:graphicFrameMk id="4" creationId="{DB7E4C9C-28D7-4695-B220-C1F3D299A506}"/>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a:solidFill>
                <a:prstClr val="white"/>
              </a:solidFill>
              <a:latin typeface="Arial"/>
              <a:ea typeface="ＭＳ Ｐゴシック"/>
              <a:cs typeface="+mn-cs"/>
            </a:rPr>
            <a:t>Change Data</a:t>
          </a:r>
          <a:endParaRPr lang="en-US" sz="1600" kern="120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a:solidFill>
                <a:prstClr val="white"/>
              </a:solidFill>
              <a:latin typeface="Arial"/>
              <a:ea typeface="ＭＳ Ｐゴシック"/>
              <a:cs typeface="+mn-cs"/>
            </a:rPr>
            <a:t>Change Data</a:t>
          </a:r>
          <a:endParaRPr lang="en-US" sz="1600" kern="120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a:solidFill>
                <a:prstClr val="white"/>
              </a:solidFill>
              <a:latin typeface="Arial"/>
              <a:ea typeface="ＭＳ Ｐゴシック"/>
              <a:cs typeface="+mn-cs"/>
            </a:rPr>
            <a:t>Change Data</a:t>
          </a:r>
          <a:endParaRPr lang="en-US" sz="1600" kern="120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Target</a:t>
          </a:r>
        </a:p>
      </dsp:txBody>
      <dsp:txXfrm>
        <a:off x="3342379" y="53331"/>
        <a:ext cx="1002303" cy="668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a:solidFill>
                <a:prstClr val="white"/>
              </a:solidFill>
              <a:latin typeface="Arial"/>
              <a:ea typeface="ＭＳ Ｐゴシック"/>
              <a:cs typeface="+mn-cs"/>
            </a:rPr>
            <a:t>Change Data</a:t>
          </a:r>
          <a:endParaRPr lang="en-US" sz="1600" kern="120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Target</a:t>
          </a:r>
        </a:p>
      </dsp:txBody>
      <dsp:txXfrm>
        <a:off x="3342379" y="53331"/>
        <a:ext cx="1002303" cy="66820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890916"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779761" y="1"/>
            <a:ext cx="2890915"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06/10/2021</a:t>
            </a:fld>
            <a:endParaRPr lang="en-US"/>
          </a:p>
        </p:txBody>
      </p:sp>
      <p:sp>
        <p:nvSpPr>
          <p:cNvPr id="9220" name="Rectangle 1028"/>
          <p:cNvSpPr>
            <a:spLocks noGrp="1" noChangeArrowheads="1"/>
          </p:cNvSpPr>
          <p:nvPr>
            <p:ph type="ftr" sz="quarter" idx="2"/>
          </p:nvPr>
        </p:nvSpPr>
        <p:spPr bwMode="auto">
          <a:xfrm>
            <a:off x="1" y="9289191"/>
            <a:ext cx="2890916"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779761" y="9289191"/>
            <a:ext cx="2890915"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778312"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06/10/2021</a:t>
            </a:fld>
            <a:endParaRPr lang="en-GB"/>
          </a:p>
        </p:txBody>
      </p:sp>
      <p:sp>
        <p:nvSpPr>
          <p:cNvPr id="108548" name="Rectangle 4"/>
          <p:cNvSpPr>
            <a:spLocks noGrp="1" noRot="1" noChangeAspect="1" noChangeArrowheads="1" noTextEdit="1"/>
          </p:cNvSpPr>
          <p:nvPr>
            <p:ph type="sldImg" idx="2"/>
          </p:nvPr>
        </p:nvSpPr>
        <p:spPr bwMode="auto">
          <a:xfrm>
            <a:off x="77788" y="733425"/>
            <a:ext cx="6515100" cy="36655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67358" y="4644596"/>
            <a:ext cx="5335961" cy="439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778312"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1</a:t>
            </a:fld>
            <a:endParaRPr lang="en-GB"/>
          </a:p>
        </p:txBody>
      </p:sp>
    </p:spTree>
    <p:extLst>
      <p:ext uri="{BB962C8B-B14F-4D97-AF65-F5344CB8AC3E}">
        <p14:creationId xmlns:p14="http://schemas.microsoft.com/office/powerpoint/2010/main" val="2495296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a:t>Bottom-up view of enabling Data Capabilities in support of prioritized business capabilities</a:t>
            </a:r>
          </a:p>
          <a:p>
            <a:pPr marL="609539" lvl="1" indent="0">
              <a:buNone/>
            </a:pPr>
            <a:r>
              <a:rPr lang="en-US"/>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a:t>                  Marketing capabilities </a:t>
            </a:r>
          </a:p>
          <a:p>
            <a:pPr algn="l">
              <a:spcAft>
                <a:spcPts val="600"/>
              </a:spcAft>
              <a:buClr>
                <a:schemeClr val="tx1"/>
              </a:buClr>
            </a:pPr>
            <a:r>
              <a:rPr lang="en-US"/>
              <a:t>                -  Note: </a:t>
            </a:r>
            <a:r>
              <a:rPr lang="en-US" sz="1600" b="0">
                <a:solidFill>
                  <a:schemeClr val="tx1"/>
                </a:solidFill>
              </a:rPr>
              <a:t>CRM and Marketing Automation Completes in Dec 2022</a:t>
            </a:r>
            <a:endParaRPr lang="en-US"/>
          </a:p>
          <a:p>
            <a:pPr marL="342900" indent="-342900">
              <a:buAutoNum type="arabicPeriod" startAt="3"/>
            </a:pPr>
            <a:r>
              <a:rPr lang="en-US"/>
              <a:t>Timelines for many of the required business capabilities extend beyond May-2022 which are being driving by process and tech changes</a:t>
            </a:r>
          </a:p>
          <a:p>
            <a:pPr marL="342900" indent="-342900">
              <a:buAutoNum type="arabicPeriod" startAt="3"/>
            </a:pPr>
            <a:r>
              <a:rPr lang="en-US"/>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98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a:t>Bottom-up view of enabling Data Capabilities in support of prioritized business capabilities</a:t>
            </a:r>
          </a:p>
          <a:p>
            <a:pPr marL="609539" lvl="1" indent="0">
              <a:buNone/>
            </a:pPr>
            <a:r>
              <a:rPr lang="en-US"/>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a:t>                  Marketing capabilities </a:t>
            </a:r>
          </a:p>
          <a:p>
            <a:pPr algn="l">
              <a:spcAft>
                <a:spcPts val="600"/>
              </a:spcAft>
              <a:buClr>
                <a:schemeClr val="tx1"/>
              </a:buClr>
            </a:pPr>
            <a:r>
              <a:rPr lang="en-US"/>
              <a:t>                -  Note: </a:t>
            </a:r>
            <a:r>
              <a:rPr lang="en-US" sz="1600" b="0">
                <a:solidFill>
                  <a:schemeClr val="tx1"/>
                </a:solidFill>
              </a:rPr>
              <a:t>CRM and Marketing Automation Completes in Dec 2022</a:t>
            </a:r>
            <a:endParaRPr lang="en-US"/>
          </a:p>
          <a:p>
            <a:pPr marL="342900" indent="-342900">
              <a:buAutoNum type="arabicPeriod" startAt="3"/>
            </a:pPr>
            <a:r>
              <a:rPr lang="en-US"/>
              <a:t>Timelines for many of the required business capabilities extend beyond May-2022 which are being driving by process and tech changes</a:t>
            </a:r>
          </a:p>
          <a:p>
            <a:pPr marL="342900" indent="-342900">
              <a:buAutoNum type="arabicPeriod" startAt="3"/>
            </a:pPr>
            <a:r>
              <a:rPr lang="en-US"/>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846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10</a:t>
            </a:fld>
            <a:endParaRPr lang="en-GB"/>
          </a:p>
        </p:txBody>
      </p:sp>
    </p:spTree>
    <p:extLst>
      <p:ext uri="{BB962C8B-B14F-4D97-AF65-F5344CB8AC3E}">
        <p14:creationId xmlns:p14="http://schemas.microsoft.com/office/powerpoint/2010/main" val="3601080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3612757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377346" y="4596212"/>
            <a:ext cx="1356744" cy="366143"/>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6749882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476317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11"/>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7" y="1058865"/>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7"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77042625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1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prstClr val="white">
                    <a:lumMod val="50000"/>
                  </a:prstClr>
                </a:solidFill>
                <a:sym typeface="Trebuchet MS" panose="020B0603020202020204" pitchFamily="34" charset="0"/>
              </a:rPr>
              <a:t>Copyright © 2021 by BCG Platinion. All rights reserved.</a:t>
            </a:r>
          </a:p>
        </p:txBody>
      </p:sp>
      <p:sp>
        <p:nvSpPr>
          <p:cNvPr id="8" name="Title 7"/>
          <p:cNvSpPr>
            <a:spLocks noGrp="1"/>
          </p:cNvSpPr>
          <p:nvPr>
            <p:ph type="title"/>
          </p:nvPr>
        </p:nvSpPr>
        <p:spPr>
          <a:xfrm>
            <a:off x="472500" y="467101"/>
            <a:ext cx="8200013" cy="249299"/>
          </a:xfr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p>
        </p:txBody>
      </p:sp>
      <p:sp>
        <p:nvSpPr>
          <p:cNvPr id="10" name="FooterSimple" hidden="1"/>
          <p:cNvSpPr txBox="1"/>
          <p:nvPr userDrawn="1">
            <p:custDataLst>
              <p:tags r:id="rId3"/>
            </p:custDataLst>
          </p:nvPr>
        </p:nvSpPr>
        <p:spPr>
          <a:xfrm rot="16200000">
            <a:off x="7920990" y="3838414"/>
            <a:ext cx="2057400" cy="72712"/>
          </a:xfrm>
          <a:prstGeom prst="rect">
            <a:avLst/>
          </a:prstGeom>
          <a:noFill/>
        </p:spPr>
        <p:txBody>
          <a:bodyPr wrap="square" lIns="0" tIns="0" rIns="0" bIns="0" rtlCol="0" anchor="b">
            <a:spAutoFit/>
          </a:bodyPr>
          <a:lstStyle/>
          <a:p>
            <a:pPr>
              <a:lnSpc>
                <a:spcPct val="90000"/>
              </a:lnSpc>
              <a:spcAft>
                <a:spcPts val="450"/>
              </a:spcAft>
            </a:pPr>
            <a:r>
              <a:rPr lang="en-US" sz="525">
                <a:solidFill>
                  <a:prstClr val="white">
                    <a:lumMod val="50000"/>
                  </a:prstClr>
                </a:solidFill>
                <a:sym typeface="Trebuchet MS" panose="020B0603020202020204" pitchFamily="34" charset="0"/>
              </a:rPr>
              <a:t>Template.pptx</a:t>
            </a:r>
          </a:p>
        </p:txBody>
      </p:sp>
    </p:spTree>
    <p:extLst>
      <p:ext uri="{BB962C8B-B14F-4D97-AF65-F5344CB8AC3E}">
        <p14:creationId xmlns:p14="http://schemas.microsoft.com/office/powerpoint/2010/main" val="2516535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_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dirty="0"/>
              <a:t>Click to edit Master title style</a:t>
            </a:r>
            <a:endParaRPr lang="en-GB" dirty="0"/>
          </a:p>
        </p:txBody>
      </p:sp>
      <p:sp>
        <p:nvSpPr>
          <p:cNvPr id="9" name="Text Placeholder 8"/>
          <p:cNvSpPr>
            <a:spLocks noGrp="1"/>
          </p:cNvSpPr>
          <p:nvPr>
            <p:ph type="body" sz="quarter" idx="11" hasCustomPrompt="1"/>
          </p:nvPr>
        </p:nvSpPr>
        <p:spPr>
          <a:xfrm>
            <a:off x="457201" y="628651"/>
            <a:ext cx="8258175" cy="215444"/>
          </a:xfrm>
        </p:spPr>
        <p:txBody>
          <a:bodyPr/>
          <a:lstStyle>
            <a:lvl1pPr>
              <a:defRPr sz="1400" b="0"/>
            </a:lvl1pPr>
            <a:lvl5pPr marL="540000" indent="0">
              <a:buNone/>
              <a:defRPr/>
            </a:lvl5pPr>
          </a:lstStyle>
          <a:p>
            <a:pPr lvl="0"/>
            <a:r>
              <a:rPr lang="en-US" dirty="0"/>
              <a:t>Click to edit Sub title text style</a:t>
            </a:r>
          </a:p>
        </p:txBody>
      </p:sp>
    </p:spTree>
    <p:extLst>
      <p:ext uri="{BB962C8B-B14F-4D97-AF65-F5344CB8AC3E}">
        <p14:creationId xmlns:p14="http://schemas.microsoft.com/office/powerpoint/2010/main" val="40711739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2615312" y="4772394"/>
            <a:ext cx="5814941" cy="169277"/>
          </a:xfrm>
        </p:spPr>
        <p:txBody>
          <a:bodyPr/>
          <a:lstStyle>
            <a:lvl1pPr>
              <a:defRPr b="0"/>
            </a:lvl1pPr>
          </a:lstStyle>
          <a:p>
            <a:pPr>
              <a:tabLst>
                <a:tab pos="989013"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323266" y="4540029"/>
            <a:ext cx="2076348" cy="36185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7894130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323266" y="4616761"/>
            <a:ext cx="2072286" cy="245891"/>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6866274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95564790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883081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169590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90872"/>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2711669" y="4778260"/>
            <a:ext cx="5718584"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pic>
        <p:nvPicPr>
          <p:cNvPr id="4" name="Picture 3"/>
          <p:cNvPicPr>
            <a:picLocks noChangeAspect="1"/>
          </p:cNvPicPr>
          <p:nvPr userDrawn="1"/>
        </p:nvPicPr>
        <p:blipFill>
          <a:blip r:embed="rId18"/>
          <a:stretch>
            <a:fillRect/>
          </a:stretch>
        </p:blipFill>
        <p:spPr>
          <a:xfrm>
            <a:off x="322780" y="4740425"/>
            <a:ext cx="2231234" cy="264832"/>
          </a:xfrm>
          <a:prstGeom prst="rect">
            <a:avLst/>
          </a:prstGeom>
        </p:spPr>
      </p:pic>
    </p:spTree>
  </p:cSld>
  <p:clrMap bg1="lt1" tx1="dk1" bg2="lt2" tx2="dk2" accent1="accent1" accent2="accent2" accent3="accent3" accent4="accent4" accent5="accent5" accent6="accent6" hlink="hlink" folHlink="folHlink"/>
  <p:sldLayoutIdLst>
    <p:sldLayoutId id="2147483785" r:id="rId1"/>
    <p:sldLayoutId id="2147483813" r:id="rId2"/>
    <p:sldLayoutId id="2147483786" r:id="rId3"/>
    <p:sldLayoutId id="2147483814" r:id="rId4"/>
    <p:sldLayoutId id="2147483817" r:id="rId5"/>
    <p:sldLayoutId id="2147483795" r:id="rId6"/>
    <p:sldLayoutId id="2147483796" r:id="rId7"/>
    <p:sldLayoutId id="2147483815" r:id="rId8"/>
    <p:sldLayoutId id="2147483794" r:id="rId9"/>
    <p:sldLayoutId id="2147483797" r:id="rId10"/>
    <p:sldLayoutId id="2147483798" r:id="rId11"/>
    <p:sldLayoutId id="2147483816" r:id="rId12"/>
    <p:sldLayoutId id="2147483784" r:id="rId13"/>
    <p:sldLayoutId id="2147483818" r:id="rId14"/>
    <p:sldLayoutId id="2147483819" r:id="rId15"/>
    <p:sldLayoutId id="2147483820" r:id="rId16"/>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4"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hyperlink" Target="https://www.qlik.com/sitecore/service/notfound.aspx?item=web%3a%7b1F876EF0-2136-4586-9B43-4EBAB189BD00%7d%40en" TargetMode="Externa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hyperlink" Target="https://bryteflow.com/oracle-cdc-change-data-capture-13-things-to-know/" TargetMode="Externa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13.png"/><Relationship Id="rId4" Type="http://schemas.openxmlformats.org/officeDocument/2006/relationships/diagramLayout" Target="../diagrams/layout2.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196" y="881883"/>
            <a:ext cx="7716524" cy="868039"/>
          </a:xfrm>
        </p:spPr>
        <p:txBody>
          <a:bodyPr>
            <a:normAutofit fontScale="90000"/>
          </a:bodyPr>
          <a:lstStyle/>
          <a:p>
            <a:r>
              <a:rPr lang="en-US" sz="3000">
                <a:latin typeface="Arial" pitchFamily="34" charset="0"/>
                <a:cs typeface="Arial" pitchFamily="34" charset="0"/>
              </a:rPr>
              <a:t>CSS/CRIS Change Data Capture (CDC) Options </a:t>
            </a:r>
            <a:br>
              <a:rPr lang="en-US" sz="3000">
                <a:latin typeface="Arial" pitchFamily="34" charset="0"/>
                <a:cs typeface="Arial" pitchFamily="34" charset="0"/>
              </a:rPr>
            </a:br>
            <a:br>
              <a:rPr lang="en-US" sz="3000">
                <a:latin typeface="Arial" pitchFamily="34" charset="0"/>
                <a:cs typeface="Arial" pitchFamily="34" charset="0"/>
              </a:rPr>
            </a:br>
            <a:r>
              <a:rPr lang="en-US" sz="3000">
                <a:latin typeface="Arial" pitchFamily="34" charset="0"/>
                <a:cs typeface="Arial" pitchFamily="34" charset="0"/>
              </a:rPr>
              <a:t>DRAFT</a:t>
            </a:r>
            <a:endParaRPr lang="en-GB" sz="3000"/>
          </a:p>
        </p:txBody>
      </p:sp>
      <p:sp>
        <p:nvSpPr>
          <p:cNvPr id="3" name="Text Placeholder 2"/>
          <p:cNvSpPr>
            <a:spLocks noGrp="1"/>
          </p:cNvSpPr>
          <p:nvPr>
            <p:ph type="body" sz="quarter" idx="10"/>
          </p:nvPr>
        </p:nvSpPr>
        <p:spPr>
          <a:xfrm>
            <a:off x="330196" y="3161306"/>
            <a:ext cx="4033839" cy="923330"/>
          </a:xfrm>
        </p:spPr>
        <p:txBody>
          <a:bodyPr>
            <a:normAutofit/>
          </a:bodyPr>
          <a:lstStyle/>
          <a:p>
            <a:r>
              <a:rPr lang="en-US" sz="1600"/>
              <a:t>October 2021</a:t>
            </a:r>
            <a:endParaRPr lang="en-US" sz="1600" dirty="0"/>
          </a:p>
          <a:p>
            <a:r>
              <a:rPr lang="en-US" sz="1600" dirty="0"/>
              <a:t>v0.6</a:t>
            </a:r>
          </a:p>
          <a:p>
            <a:endParaRPr lang="en-US" sz="1600" dirty="0"/>
          </a:p>
        </p:txBody>
      </p:sp>
    </p:spTree>
    <p:extLst>
      <p:ext uri="{BB962C8B-B14F-4D97-AF65-F5344CB8AC3E}">
        <p14:creationId xmlns:p14="http://schemas.microsoft.com/office/powerpoint/2010/main" val="1363743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3C5132-E74A-43D1-9B5C-83DC3EFDEF9A}"/>
              </a:ext>
            </a:extLst>
          </p:cNvPr>
          <p:cNvPicPr>
            <a:picLocks noChangeAspect="1"/>
          </p:cNvPicPr>
          <p:nvPr/>
        </p:nvPicPr>
        <p:blipFill>
          <a:blip r:embed="rId3"/>
          <a:stretch>
            <a:fillRect/>
          </a:stretch>
        </p:blipFill>
        <p:spPr>
          <a:xfrm>
            <a:off x="753222" y="0"/>
            <a:ext cx="7866795" cy="4776268"/>
          </a:xfrm>
          <a:prstGeom prst="rect">
            <a:avLst/>
          </a:prstGeom>
        </p:spPr>
      </p:pic>
    </p:spTree>
    <p:extLst>
      <p:ext uri="{BB962C8B-B14F-4D97-AF65-F5344CB8AC3E}">
        <p14:creationId xmlns:p14="http://schemas.microsoft.com/office/powerpoint/2010/main" val="364116075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High level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3589288510"/>
              </p:ext>
            </p:extLst>
          </p:nvPr>
        </p:nvGraphicFramePr>
        <p:xfrm>
          <a:off x="106404" y="483811"/>
          <a:ext cx="8915676" cy="3909358"/>
        </p:xfrm>
        <a:graphic>
          <a:graphicData uri="http://schemas.openxmlformats.org/drawingml/2006/table">
            <a:tbl>
              <a:tblPr firstRow="1" bandRow="1">
                <a:tableStyleId>{5C22544A-7EE6-4342-B048-85BDC9FD1C3A}</a:tableStyleId>
              </a:tblPr>
              <a:tblGrid>
                <a:gridCol w="252040">
                  <a:extLst>
                    <a:ext uri="{9D8B030D-6E8A-4147-A177-3AD203B41FA5}">
                      <a16:colId xmlns:a16="http://schemas.microsoft.com/office/drawing/2014/main" val="2334813724"/>
                    </a:ext>
                  </a:extLst>
                </a:gridCol>
                <a:gridCol w="2042962">
                  <a:extLst>
                    <a:ext uri="{9D8B030D-6E8A-4147-A177-3AD203B41FA5}">
                      <a16:colId xmlns:a16="http://schemas.microsoft.com/office/drawing/2014/main" val="3548610838"/>
                    </a:ext>
                  </a:extLst>
                </a:gridCol>
                <a:gridCol w="1936407">
                  <a:extLst>
                    <a:ext uri="{9D8B030D-6E8A-4147-A177-3AD203B41FA5}">
                      <a16:colId xmlns:a16="http://schemas.microsoft.com/office/drawing/2014/main" val="3523463392"/>
                    </a:ext>
                  </a:extLst>
                </a:gridCol>
                <a:gridCol w="2305255">
                  <a:extLst>
                    <a:ext uri="{9D8B030D-6E8A-4147-A177-3AD203B41FA5}">
                      <a16:colId xmlns:a16="http://schemas.microsoft.com/office/drawing/2014/main" val="752791419"/>
                    </a:ext>
                  </a:extLst>
                </a:gridCol>
                <a:gridCol w="2379012">
                  <a:extLst>
                    <a:ext uri="{9D8B030D-6E8A-4147-A177-3AD203B41FA5}">
                      <a16:colId xmlns:a16="http://schemas.microsoft.com/office/drawing/2014/main" val="2688450755"/>
                    </a:ext>
                  </a:extLst>
                </a:gridCol>
              </a:tblGrid>
              <a:tr h="0">
                <a:tc>
                  <a:txBody>
                    <a:bodyPr/>
                    <a:lstStyle/>
                    <a:p>
                      <a:pPr algn="l"/>
                      <a:r>
                        <a:rPr lang="en-US" sz="1000">
                          <a:solidFill>
                            <a:schemeClr val="bg1"/>
                          </a:solidFill>
                        </a:rPr>
                        <a:t>#</a:t>
                      </a:r>
                    </a:p>
                  </a:txBody>
                  <a:tcPr/>
                </a:tc>
                <a:tc>
                  <a:txBody>
                    <a:bodyPr/>
                    <a:lstStyle/>
                    <a:p>
                      <a:pPr algn="l"/>
                      <a:r>
                        <a:rPr lang="en-US" sz="1000" b="1">
                          <a:solidFill>
                            <a:schemeClr val="bg1"/>
                          </a:solidFill>
                        </a:rPr>
                        <a:t>Option</a:t>
                      </a:r>
                      <a:endParaRPr lang="en-US" sz="1000">
                        <a:solidFill>
                          <a:schemeClr val="bg1"/>
                        </a:solidFill>
                      </a:endParaRPr>
                    </a:p>
                  </a:txBody>
                  <a:tcPr/>
                </a:tc>
                <a:tc>
                  <a:txBody>
                    <a:bodyPr/>
                    <a:lstStyle/>
                    <a:p>
                      <a:pPr marL="0" indent="0" algn="l"/>
                      <a:r>
                        <a:rPr lang="en-US" sz="1000" b="1">
                          <a:solidFill>
                            <a:schemeClr val="bg1"/>
                          </a:solidFill>
                        </a:rPr>
                        <a:t>Cost</a:t>
                      </a:r>
                      <a:endParaRPr lang="en-US" sz="1000">
                        <a:solidFill>
                          <a:schemeClr val="bg1"/>
                        </a:solidFill>
                      </a:endParaRPr>
                    </a:p>
                  </a:txBody>
                  <a:tcPr/>
                </a:tc>
                <a:tc>
                  <a:txBody>
                    <a:bodyPr/>
                    <a:lstStyle/>
                    <a:p>
                      <a:pPr algn="ctr"/>
                      <a:r>
                        <a:rPr lang="en-US" sz="1000" b="1">
                          <a:solidFill>
                            <a:schemeClr val="bg1"/>
                          </a:solidFill>
                        </a:rPr>
                        <a:t>Maintenance</a:t>
                      </a:r>
                      <a:endParaRPr lang="en-US" sz="1000">
                        <a:solidFill>
                          <a:schemeClr val="bg1"/>
                        </a:solidFill>
                      </a:endParaRPr>
                    </a:p>
                  </a:txBody>
                  <a:tcPr/>
                </a:tc>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1000" b="1">
                          <a:solidFill>
                            <a:schemeClr val="bg1"/>
                          </a:solidFill>
                        </a:rPr>
                        <a:t>Go to Market Time</a:t>
                      </a:r>
                    </a:p>
                  </a:txBody>
                  <a:tcPr/>
                </a:tc>
                <a:extLst>
                  <a:ext uri="{0D108BD9-81ED-4DB2-BD59-A6C34878D82A}">
                    <a16:rowId xmlns:a16="http://schemas.microsoft.com/office/drawing/2014/main" val="163652521"/>
                  </a:ext>
                </a:extLst>
              </a:tr>
              <a:tr h="138849">
                <a:tc>
                  <a:txBody>
                    <a:bodyPr/>
                    <a:lstStyle/>
                    <a:p>
                      <a:pPr algn="l"/>
                      <a:r>
                        <a:rPr lang="en-US" sz="900" b="1">
                          <a:solidFill>
                            <a:srgbClr val="000000"/>
                          </a:solidFill>
                        </a:rPr>
                        <a:t>1</a:t>
                      </a:r>
                    </a:p>
                  </a:txBody>
                  <a:tcPr marL="13500" marR="13500" marT="13500" marB="13500"/>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HVR </a:t>
                      </a: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By each source and each target database ~150K/year + VM and database for Hub</a:t>
                      </a:r>
                    </a:p>
                  </a:txBody>
                  <a:tcPr marL="40500" marR="40500" marT="40500" marB="40500"/>
                </a:tc>
                <a:tc>
                  <a:txBody>
                    <a:bodyPr/>
                    <a:lstStyle/>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Maintenance – </a:t>
                      </a:r>
                      <a:r>
                        <a:rPr lang="en-US" sz="900" b="0" i="0" u="none" strike="noStrike" kern="1200" spc="0" noProof="0" err="1">
                          <a:solidFill>
                            <a:schemeClr val="tx1">
                              <a:lumMod val="50000"/>
                            </a:schemeClr>
                          </a:solidFill>
                          <a:latin typeface="+mn-lt"/>
                          <a:ea typeface="+mn-ea"/>
                          <a:cs typeface="+mn-cs"/>
                        </a:rPr>
                        <a:t>tbd</a:t>
                      </a:r>
                      <a:endParaRPr lang="en-US" sz="900" b="0" i="0" u="none" strike="noStrike" kern="1200" spc="0" noProof="0">
                        <a:solidFill>
                          <a:schemeClr val="tx1">
                            <a:lumMod val="50000"/>
                          </a:schemeClr>
                        </a:solidFill>
                        <a:latin typeface="+mn-lt"/>
                        <a:ea typeface="+mn-ea"/>
                        <a:cs typeface="+mn-cs"/>
                      </a:endParaRPr>
                    </a:p>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Easy</a:t>
                      </a:r>
                    </a:p>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Complex</a:t>
                      </a:r>
                    </a:p>
                  </a:txBody>
                  <a:tcPr marL="40500" marR="40500" marT="40500" marB="40500"/>
                </a:tc>
                <a:extLst>
                  <a:ext uri="{0D108BD9-81ED-4DB2-BD59-A6C34878D82A}">
                    <a16:rowId xmlns:a16="http://schemas.microsoft.com/office/drawing/2014/main" val="4222057156"/>
                  </a:ext>
                </a:extLst>
              </a:tr>
              <a:tr h="138849">
                <a:tc>
                  <a:txBody>
                    <a:bodyPr/>
                    <a:lstStyle/>
                    <a:p>
                      <a:pPr algn="l"/>
                      <a:r>
                        <a:rPr lang="en-US" sz="900" b="1">
                          <a:solidFill>
                            <a:srgbClr val="000000"/>
                          </a:solidFill>
                        </a:rPr>
                        <a:t>2</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a:solidFill>
                            <a:srgbClr val="000000"/>
                          </a:solidFill>
                          <a:latin typeface="Arial"/>
                          <a:ea typeface="+mn-ea"/>
                          <a:cs typeface="+mn-cs"/>
                        </a:rPr>
                        <a:t>Qlik</a:t>
                      </a:r>
                      <a:r>
                        <a:rPr lang="en-US" sz="900" b="1" i="0" u="none" strike="noStrike" kern="1200" spc="0" noProof="0">
                          <a:solidFill>
                            <a:srgbClr val="000000"/>
                          </a:solidFill>
                          <a:latin typeface="Arial"/>
                        </a:rPr>
                        <a:t>(Attunity) Replicate</a:t>
                      </a:r>
                      <a:endParaRPr lang="en-US" sz="900" b="1" i="0" u="none" kern="1200" spc="0">
                        <a:solidFill>
                          <a:srgbClr val="000000"/>
                        </a:solidFill>
                        <a:latin typeface="Arial"/>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By each source, Source server cores,  each target database </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err="1">
                          <a:solidFill>
                            <a:schemeClr val="tx1">
                              <a:lumMod val="50000"/>
                            </a:schemeClr>
                          </a:solidFill>
                          <a:latin typeface="+mn-lt"/>
                          <a:ea typeface="+mn-ea"/>
                          <a:cs typeface="+mn-cs"/>
                        </a:rPr>
                        <a:t>tbd</a:t>
                      </a:r>
                      <a:r>
                        <a:rPr lang="en-US" sz="900" b="0" i="0" u="none" strike="noStrike" kern="1200" spc="0" noProof="0">
                          <a:solidFill>
                            <a:schemeClr val="tx1">
                              <a:lumMod val="50000"/>
                            </a:schemeClr>
                          </a:solidFill>
                          <a:latin typeface="+mn-lt"/>
                          <a:ea typeface="+mn-ea"/>
                          <a:cs typeface="+mn-cs"/>
                        </a:rPr>
                        <a:t>/year + VM for Hub</a:t>
                      </a: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Support – Provided, Good documentation</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Easy</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a:t>
                      </a:r>
                      <a:r>
                        <a:rPr lang="en-US" sz="900" b="0" i="0" u="none" strike="noStrike" kern="1200" spc="0" noProof="0" err="1">
                          <a:solidFill>
                            <a:schemeClr val="tx1">
                              <a:lumMod val="50000"/>
                            </a:schemeClr>
                          </a:solidFill>
                          <a:latin typeface="+mn-lt"/>
                          <a:ea typeface="+mn-ea"/>
                          <a:cs typeface="+mn-cs"/>
                        </a:rPr>
                        <a:t>tbd</a:t>
                      </a:r>
                      <a:endParaRPr lang="en-US" sz="900" b="0" i="0" u="none" strike="noStrike" kern="1200" spc="0" noProof="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3343480495"/>
                  </a:ext>
                </a:extLst>
              </a:tr>
              <a:tr h="138849">
                <a:tc>
                  <a:txBody>
                    <a:bodyPr/>
                    <a:lstStyle/>
                    <a:p>
                      <a:pPr lvl="0" algn="l">
                        <a:buNone/>
                      </a:pPr>
                      <a:r>
                        <a:rPr lang="en-US" sz="900"/>
                        <a:t>3</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IBM </a:t>
                      </a:r>
                      <a:r>
                        <a:rPr lang="en-US" sz="900" b="1" i="0" u="none" kern="1200" spc="0" err="1">
                          <a:solidFill>
                            <a:srgbClr val="000000"/>
                          </a:solidFill>
                          <a:latin typeface="Arial"/>
                          <a:ea typeface="+mn-ea"/>
                          <a:cs typeface="+mn-cs"/>
                        </a:rPr>
                        <a:t>InfoSphere</a:t>
                      </a:r>
                      <a:r>
                        <a:rPr lang="en-US" sz="900" b="1" i="0" u="none" kern="1200" spc="0">
                          <a:solidFill>
                            <a:srgbClr val="000000"/>
                          </a:solidFill>
                          <a:latin typeface="Arial"/>
                          <a:ea typeface="+mn-ea"/>
                          <a:cs typeface="+mn-cs"/>
                        </a:rPr>
                        <a:t> Data Replication (IBM CDC)</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By each source MIPs</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err="1">
                          <a:solidFill>
                            <a:schemeClr val="tx1">
                              <a:lumMod val="50000"/>
                            </a:schemeClr>
                          </a:solidFill>
                          <a:latin typeface="+mn-lt"/>
                          <a:ea typeface="+mn-ea"/>
                          <a:cs typeface="+mn-cs"/>
                        </a:rPr>
                        <a:t>tbd</a:t>
                      </a:r>
                      <a:r>
                        <a:rPr lang="en-US" sz="900" b="0" i="0" u="none" strike="noStrike" kern="1200" spc="0" noProof="0">
                          <a:solidFill>
                            <a:schemeClr val="tx1">
                              <a:lumMod val="50000"/>
                            </a:schemeClr>
                          </a:solidFill>
                          <a:latin typeface="+mn-lt"/>
                          <a:ea typeface="+mn-ea"/>
                          <a:cs typeface="+mn-cs"/>
                        </a:rPr>
                        <a:t>/year + VM for engine + possibly Kafka (seconds latency)</a:t>
                      </a:r>
                      <a:endParaRPr lang="en-US" sz="900"/>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Maintenance – High</a:t>
                      </a: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Very Complex</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Easy</a:t>
                      </a:r>
                      <a:endParaRPr lang="en-US" sz="900" b="0" i="0" u="none" strike="noStrike" kern="1200" spc="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1602825462"/>
                  </a:ext>
                </a:extLst>
              </a:tr>
              <a:tr h="108602">
                <a:tc>
                  <a:txBody>
                    <a:bodyPr/>
                    <a:lstStyle/>
                    <a:p>
                      <a:pPr lvl="0" algn="l">
                        <a:buNone/>
                      </a:pPr>
                      <a:r>
                        <a:rPr lang="en-US" sz="900" b="1">
                          <a:solidFill>
                            <a:srgbClr val="000000"/>
                          </a:solidFill>
                        </a:rPr>
                        <a:t>4</a:t>
                      </a:r>
                    </a:p>
                  </a:txBody>
                  <a:tcPr marL="13500" marR="13500" marT="13500" marB="13500"/>
                </a:tc>
                <a:tc>
                  <a:txBody>
                    <a:bodyPr/>
                    <a:lstStyle/>
                    <a:p>
                      <a:pPr lvl="0" algn="l">
                        <a:buNone/>
                      </a:pPr>
                      <a:r>
                        <a:rPr lang="en-US" sz="900" b="1">
                          <a:solidFill>
                            <a:srgbClr val="000000"/>
                          </a:solidFill>
                        </a:rPr>
                        <a:t>STRIIM</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Record counts</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err="1">
                          <a:solidFill>
                            <a:schemeClr val="tx1">
                              <a:lumMod val="50000"/>
                            </a:schemeClr>
                          </a:solidFill>
                          <a:latin typeface="+mn-lt"/>
                          <a:ea typeface="+mn-ea"/>
                          <a:cs typeface="+mn-cs"/>
                        </a:rPr>
                        <a:t>tbd</a:t>
                      </a:r>
                      <a:r>
                        <a:rPr lang="en-US" sz="900" b="0" i="0" u="none" strike="noStrike" kern="1200" spc="0" noProof="0">
                          <a:solidFill>
                            <a:schemeClr val="tx1">
                              <a:lumMod val="50000"/>
                            </a:schemeClr>
                          </a:solidFill>
                          <a:latin typeface="+mn-lt"/>
                          <a:ea typeface="+mn-ea"/>
                          <a:cs typeface="+mn-cs"/>
                        </a:rPr>
                        <a:t>/year + VM for Hub</a:t>
                      </a:r>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Maintenance – Easy</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Support – Provided</a:t>
                      </a:r>
                      <a:endParaRPr lang="en-US" sz="900"/>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Install – Easy</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Required Audit columns</a:t>
                      </a:r>
                      <a:endParaRPr lang="en-US" sz="900" b="0" i="0" u="none" strike="noStrike" kern="1200" spc="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2758764673"/>
                  </a:ext>
                </a:extLst>
              </a:tr>
              <a:tr h="108602">
                <a:tc>
                  <a:txBody>
                    <a:bodyPr/>
                    <a:lstStyle/>
                    <a:p>
                      <a:pPr algn="l"/>
                      <a:r>
                        <a:rPr lang="en-US" sz="900" b="1">
                          <a:solidFill>
                            <a:srgbClr val="000000"/>
                          </a:solidFill>
                        </a:rPr>
                        <a:t>5</a:t>
                      </a:r>
                    </a:p>
                  </a:txBody>
                  <a:tcPr marL="13500" marR="13500" marT="13500" marB="13500"/>
                </a:tc>
                <a:tc>
                  <a:txBody>
                    <a:bodyPr/>
                    <a:lstStyle/>
                    <a:p>
                      <a:pPr marL="0" marR="0" lvl="0" indent="0" algn="l" rtl="0" eaLnBrk="1" fontAlgn="base" hangingPunct="1">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IBM SQL/Queue Replicator</a:t>
                      </a: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a:p>
                  </a:txBody>
                  <a:tcPr marL="40500" marR="40500" marT="40500" marB="40500"/>
                </a:tc>
                <a:extLst>
                  <a:ext uri="{0D108BD9-81ED-4DB2-BD59-A6C34878D82A}">
                    <a16:rowId xmlns:a16="http://schemas.microsoft.com/office/drawing/2014/main" val="4034032272"/>
                  </a:ext>
                </a:extLst>
              </a:tr>
              <a:tr h="108602">
                <a:tc>
                  <a:txBody>
                    <a:bodyPr/>
                    <a:lstStyle/>
                    <a:p>
                      <a:pPr algn="l"/>
                      <a:r>
                        <a:rPr lang="en-US" sz="900" b="1">
                          <a:solidFill>
                            <a:srgbClr val="000000"/>
                          </a:solidFill>
                        </a:rPr>
                        <a:t>6</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Kafka Connector</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Usage based  </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Maintenance – High</a:t>
                      </a:r>
                      <a:endParaRPr lang="en-US" sz="900"/>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Support – No provided </a:t>
                      </a: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Complex</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Complex</a:t>
                      </a:r>
                      <a:endParaRPr lang="en-US" sz="900"/>
                    </a:p>
                  </a:txBody>
                  <a:tcPr marL="40500" marR="40500" marT="40500" marB="40500"/>
                </a:tc>
                <a:extLst>
                  <a:ext uri="{0D108BD9-81ED-4DB2-BD59-A6C34878D82A}">
                    <a16:rowId xmlns:a16="http://schemas.microsoft.com/office/drawing/2014/main" val="3378352701"/>
                  </a:ext>
                </a:extLst>
              </a:tr>
              <a:tr h="0">
                <a:tc>
                  <a:txBody>
                    <a:bodyPr/>
                    <a:lstStyle/>
                    <a:p>
                      <a:pPr lvl="0" algn="l">
                        <a:buNone/>
                      </a:pPr>
                      <a:r>
                        <a:rPr lang="en-US" sz="900">
                          <a:solidFill>
                            <a:schemeClr val="tx1">
                              <a:lumMod val="50000"/>
                            </a:schemeClr>
                          </a:solidFill>
                        </a:rPr>
                        <a:t>7</a:t>
                      </a:r>
                    </a:p>
                  </a:txBody>
                  <a:tcPr marL="13500" marR="13500" marT="13500" marB="13500"/>
                </a:tc>
                <a:tc>
                  <a:txBody>
                    <a:bodyPr/>
                    <a:lstStyle/>
                    <a:p>
                      <a:pPr lvl="0" algn="l">
                        <a:buNone/>
                      </a:pPr>
                      <a:r>
                        <a:rPr lang="en-US" sz="900" b="1" i="0" u="none" kern="1200" spc="0">
                          <a:solidFill>
                            <a:srgbClr val="000000"/>
                          </a:solidFill>
                          <a:latin typeface="Arial"/>
                          <a:ea typeface="+mn-ea"/>
                          <a:cs typeface="+mn-cs"/>
                        </a:rPr>
                        <a:t>Oracle Golden Gate</a:t>
                      </a:r>
                      <a:endParaRPr lang="en-US" sz="900" b="1">
                        <a:solidFill>
                          <a:srgbClr val="000000"/>
                        </a:solidFill>
                      </a:endParaRPr>
                    </a:p>
                  </a:txBody>
                  <a:tcPr marL="13500" marR="13500" marT="13500" marB="13500"/>
                </a:tc>
                <a:tc>
                  <a:txBody>
                    <a:bodyPr/>
                    <a:lstStyle/>
                    <a:p>
                      <a:pPr marL="171450" marR="0" lvl="1" indent="-171450" algn="l" defTabSz="914400" rtl="0">
                        <a:lnSpc>
                          <a:spcPct val="100000"/>
                        </a:lnSpc>
                        <a:spcBef>
                          <a:spcPts val="0"/>
                        </a:spcBef>
                        <a:spcAft>
                          <a:spcPts val="0"/>
                        </a:spcAft>
                        <a:buClr>
                          <a:srgbClr val="55555A"/>
                        </a:buClr>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License – Annual and High</a:t>
                      </a: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Maintenance – High (non-Oracle)</a:t>
                      </a:r>
                      <a:endParaRPr lang="en-US" sz="900"/>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Install – Easy</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Easy</a:t>
                      </a:r>
                      <a:endParaRPr lang="en-US" sz="900" b="0" i="0" u="none" strike="noStrike" kern="1200" spc="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1447178351"/>
                  </a:ext>
                </a:extLst>
              </a:tr>
              <a:tr h="0">
                <a:tc>
                  <a:txBody>
                    <a:bodyPr/>
                    <a:lstStyle/>
                    <a:p>
                      <a:pPr algn="l"/>
                      <a:r>
                        <a:rPr lang="en-US" sz="900" b="1">
                          <a:solidFill>
                            <a:srgbClr val="000000"/>
                          </a:solidFill>
                        </a:rPr>
                        <a:t>8</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noProof="0">
                          <a:solidFill>
                            <a:srgbClr val="000000"/>
                          </a:solidFill>
                          <a:latin typeface="Arial"/>
                          <a:ea typeface="+mn-ea"/>
                          <a:cs typeface="+mn-cs"/>
                        </a:rPr>
                        <a:t>IBM DB2 Analytics   Accelerator (IDAA)</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Arial"/>
                        </a:rPr>
                        <a:t>License – Annual and High</a:t>
                      </a:r>
                      <a:endParaRPr lang="en-US" sz="900" b="0" i="0" u="none" strike="noStrike" kern="1200" spc="0" noProof="0">
                        <a:solidFill>
                          <a:schemeClr val="tx1">
                            <a:lumMod val="50000"/>
                          </a:schemeClr>
                        </a:solidFill>
                        <a:latin typeface="+mn-lt"/>
                        <a:ea typeface="+mn-ea"/>
                        <a:cs typeface="+mn-cs"/>
                      </a:endParaRPr>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txBody>
                  <a:tcPr marL="40499" marR="40499" marT="40499" marB="40499"/>
                </a:tc>
                <a:tc>
                  <a:txBody>
                    <a:bodyPr/>
                    <a:lstStyle/>
                    <a:p>
                      <a:pPr marL="171450" marR="0" lvl="1" indent="-171450" algn="l" rtl="0" eaLnBrk="1" fontAlgn="base" hangingPunct="1">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Maintenance – High</a:t>
                      </a:r>
                      <a:endParaRPr lang="en-US" sz="900" b="0" i="0" u="none" strike="noStrike" kern="1200" spc="0">
                        <a:solidFill>
                          <a:schemeClr val="tx1">
                            <a:lumMod val="50000"/>
                          </a:schemeClr>
                        </a:solidFill>
                        <a:latin typeface="+mn-lt"/>
                        <a:ea typeface="+mn-ea"/>
                        <a:cs typeface="+mn-cs"/>
                      </a:endParaRPr>
                    </a:p>
                  </a:txBody>
                  <a:tcPr marL="40499" marR="40499" marT="40499" marB="40499"/>
                </a:tc>
                <a:tc>
                  <a:txBody>
                    <a:bodyPr/>
                    <a:lstStyle/>
                    <a:p>
                      <a:pPr marL="171450" marR="0" lvl="1" indent="-171450" algn="l">
                        <a:lnSpc>
                          <a:spcPct val="100000"/>
                        </a:lnSpc>
                        <a:spcBef>
                          <a:spcPts val="0"/>
                        </a:spcBef>
                        <a:spcAft>
                          <a:spcPts val="0"/>
                        </a:spcAft>
                        <a:buClr>
                          <a:srgbClr val="55555A"/>
                        </a:buClr>
                        <a:buFont typeface="Arial,Sans-Serif"/>
                        <a:buChar char="•"/>
                      </a:pPr>
                      <a:r>
                        <a:rPr lang="en-US" sz="900" b="0" i="0" u="none" strike="noStrike" noProof="0">
                          <a:solidFill>
                            <a:schemeClr val="tx1">
                              <a:lumMod val="50000"/>
                            </a:schemeClr>
                          </a:solidFill>
                          <a:latin typeface="Arial"/>
                        </a:rPr>
                        <a:t>Install – Very Complex</a:t>
                      </a:r>
                      <a:endParaRPr lang="en-US" sz="900" b="0" i="0" u="none" strike="noStrike" noProof="0"/>
                    </a:p>
                    <a:p>
                      <a:pPr marL="171450" marR="0" lvl="1" indent="-171450" algn="l">
                        <a:lnSpc>
                          <a:spcPct val="100000"/>
                        </a:lnSpc>
                        <a:spcBef>
                          <a:spcPts val="0"/>
                        </a:spcBef>
                        <a:spcAft>
                          <a:spcPts val="0"/>
                        </a:spcAft>
                        <a:buClr>
                          <a:srgbClr val="55555A"/>
                        </a:buClr>
                        <a:buFont typeface="Arial,Sans-Serif"/>
                        <a:buChar char="•"/>
                      </a:pPr>
                      <a:r>
                        <a:rPr lang="en-US" sz="900" b="0" i="0" u="none" strike="noStrike" noProof="0">
                          <a:solidFill>
                            <a:schemeClr val="tx1">
                              <a:lumMod val="50000"/>
                            </a:schemeClr>
                          </a:solidFill>
                          <a:latin typeface="Arial"/>
                        </a:rPr>
                        <a:t>Replication Stream  - Easy</a:t>
                      </a:r>
                      <a:endParaRPr lang="en-US" sz="900"/>
                    </a:p>
                  </a:txBody>
                  <a:tcPr marL="40499" marR="40499" marT="40499" marB="40499"/>
                </a:tc>
                <a:extLst>
                  <a:ext uri="{0D108BD9-81ED-4DB2-BD59-A6C34878D82A}">
                    <a16:rowId xmlns:a16="http://schemas.microsoft.com/office/drawing/2014/main" val="2052426575"/>
                  </a:ext>
                </a:extLst>
              </a:tr>
            </a:tbl>
          </a:graphicData>
        </a:graphic>
      </p:graphicFrame>
    </p:spTree>
    <p:extLst>
      <p:ext uri="{BB962C8B-B14F-4D97-AF65-F5344CB8AC3E}">
        <p14:creationId xmlns:p14="http://schemas.microsoft.com/office/powerpoint/2010/main" val="2549472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High Level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3623732682"/>
              </p:ext>
            </p:extLst>
          </p:nvPr>
        </p:nvGraphicFramePr>
        <p:xfrm>
          <a:off x="168489" y="483810"/>
          <a:ext cx="8736963" cy="3383589"/>
        </p:xfrm>
        <a:graphic>
          <a:graphicData uri="http://schemas.openxmlformats.org/drawingml/2006/table">
            <a:tbl>
              <a:tblPr firstRow="1" bandRow="1">
                <a:tableStyleId>{5C22544A-7EE6-4342-B048-85BDC9FD1C3A}</a:tableStyleId>
              </a:tblPr>
              <a:tblGrid>
                <a:gridCol w="246988">
                  <a:extLst>
                    <a:ext uri="{9D8B030D-6E8A-4147-A177-3AD203B41FA5}">
                      <a16:colId xmlns:a16="http://schemas.microsoft.com/office/drawing/2014/main" val="2334813724"/>
                    </a:ext>
                  </a:extLst>
                </a:gridCol>
                <a:gridCol w="1992975">
                  <a:extLst>
                    <a:ext uri="{9D8B030D-6E8A-4147-A177-3AD203B41FA5}">
                      <a16:colId xmlns:a16="http://schemas.microsoft.com/office/drawing/2014/main" val="3548610838"/>
                    </a:ext>
                  </a:extLst>
                </a:gridCol>
                <a:gridCol w="1906628">
                  <a:extLst>
                    <a:ext uri="{9D8B030D-6E8A-4147-A177-3AD203B41FA5}">
                      <a16:colId xmlns:a16="http://schemas.microsoft.com/office/drawing/2014/main" val="3523463392"/>
                    </a:ext>
                  </a:extLst>
                </a:gridCol>
                <a:gridCol w="2259046">
                  <a:extLst>
                    <a:ext uri="{9D8B030D-6E8A-4147-A177-3AD203B41FA5}">
                      <a16:colId xmlns:a16="http://schemas.microsoft.com/office/drawing/2014/main" val="752791419"/>
                    </a:ext>
                  </a:extLst>
                </a:gridCol>
                <a:gridCol w="2331326">
                  <a:extLst>
                    <a:ext uri="{9D8B030D-6E8A-4147-A177-3AD203B41FA5}">
                      <a16:colId xmlns:a16="http://schemas.microsoft.com/office/drawing/2014/main" val="2688450755"/>
                    </a:ext>
                  </a:extLst>
                </a:gridCol>
              </a:tblGrid>
              <a:tr h="267890">
                <a:tc>
                  <a:txBody>
                    <a:bodyPr/>
                    <a:lstStyle/>
                    <a:p>
                      <a:pPr algn="l"/>
                      <a:r>
                        <a:rPr lang="en-US" sz="1000">
                          <a:solidFill>
                            <a:schemeClr val="bg1"/>
                          </a:solidFill>
                        </a:rPr>
                        <a:t>#</a:t>
                      </a:r>
                    </a:p>
                  </a:txBody>
                  <a:tcPr/>
                </a:tc>
                <a:tc>
                  <a:txBody>
                    <a:bodyPr/>
                    <a:lstStyle/>
                    <a:p>
                      <a:pPr algn="l"/>
                      <a:r>
                        <a:rPr lang="en-US" sz="1000" b="1">
                          <a:solidFill>
                            <a:schemeClr val="bg1"/>
                          </a:solidFill>
                        </a:rPr>
                        <a:t>Option</a:t>
                      </a:r>
                      <a:endParaRPr lang="en-US" sz="1000">
                        <a:solidFill>
                          <a:schemeClr val="bg1"/>
                        </a:solidFill>
                      </a:endParaRPr>
                    </a:p>
                  </a:txBody>
                  <a:tcPr/>
                </a:tc>
                <a:tc>
                  <a:txBody>
                    <a:bodyPr/>
                    <a:lstStyle/>
                    <a:p>
                      <a:pPr marL="0" indent="0" algn="l"/>
                      <a:r>
                        <a:rPr lang="en-US" sz="1000" b="1">
                          <a:solidFill>
                            <a:schemeClr val="bg1"/>
                          </a:solidFill>
                        </a:rPr>
                        <a:t>Cost</a:t>
                      </a:r>
                      <a:endParaRPr lang="en-US" sz="1000">
                        <a:solidFill>
                          <a:schemeClr val="bg1"/>
                        </a:solidFill>
                      </a:endParaRPr>
                    </a:p>
                  </a:txBody>
                  <a:tcPr/>
                </a:tc>
                <a:tc>
                  <a:txBody>
                    <a:bodyPr/>
                    <a:lstStyle/>
                    <a:p>
                      <a:pPr algn="ctr"/>
                      <a:r>
                        <a:rPr lang="en-US" sz="1000" b="1">
                          <a:solidFill>
                            <a:schemeClr val="bg1"/>
                          </a:solidFill>
                        </a:rPr>
                        <a:t>Maintenance</a:t>
                      </a:r>
                      <a:endParaRPr lang="en-US" sz="1000">
                        <a:solidFill>
                          <a:schemeClr val="bg1"/>
                        </a:solidFill>
                      </a:endParaRPr>
                    </a:p>
                  </a:txBody>
                  <a:tcPr/>
                </a:tc>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1000" b="1">
                          <a:solidFill>
                            <a:schemeClr val="bg1"/>
                          </a:solidFill>
                        </a:rPr>
                        <a:t>Go to Market Time</a:t>
                      </a:r>
                    </a:p>
                  </a:txBody>
                  <a:tcPr/>
                </a:tc>
                <a:extLst>
                  <a:ext uri="{0D108BD9-81ED-4DB2-BD59-A6C34878D82A}">
                    <a16:rowId xmlns:a16="http://schemas.microsoft.com/office/drawing/2014/main" val="163652521"/>
                  </a:ext>
                </a:extLst>
              </a:tr>
              <a:tr h="547687">
                <a:tc>
                  <a:txBody>
                    <a:bodyPr/>
                    <a:lstStyle/>
                    <a:p>
                      <a:pPr algn="l"/>
                      <a:r>
                        <a:rPr lang="en-US" sz="900" b="1">
                          <a:solidFill>
                            <a:srgbClr val="000000"/>
                          </a:solidFill>
                        </a:rPr>
                        <a:t>9</a:t>
                      </a:r>
                    </a:p>
                  </a:txBody>
                  <a:tcPr marL="13500" marR="13500" marT="13500" marB="13500"/>
                </a:tc>
                <a:tc>
                  <a:txBody>
                    <a:bodyPr/>
                    <a:lstStyle/>
                    <a:p>
                      <a:pPr lvl="0" algn="l" defTabSz="914400">
                        <a:buNone/>
                        <a:tabLst/>
                        <a:defRPr/>
                      </a:pPr>
                      <a:r>
                        <a:rPr lang="en-US" sz="900" b="1" i="0" u="none" kern="1200" spc="0">
                          <a:solidFill>
                            <a:srgbClr val="000000"/>
                          </a:solidFill>
                          <a:latin typeface="Arial"/>
                          <a:ea typeface="+mn-ea"/>
                          <a:cs typeface="+mn-cs"/>
                        </a:rPr>
                        <a:t>Talend</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Annual and Low</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Hardware – 24GB+ RAM</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a:buChar char="•"/>
                      </a:pPr>
                      <a:r>
                        <a:rPr lang="en-US" sz="900" b="0" i="0" u="none" strike="noStrike" kern="1200" spc="0" noProof="0">
                          <a:solidFill>
                            <a:schemeClr val="tx1">
                              <a:lumMod val="50000"/>
                            </a:schemeClr>
                          </a:solidFill>
                          <a:latin typeface="+mn-lt"/>
                          <a:ea typeface="+mn-ea"/>
                          <a:cs typeface="+mn-cs"/>
                        </a:rPr>
                        <a:t>Support – Provided</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a:buChar char="•"/>
                      </a:pPr>
                      <a:r>
                        <a:rPr lang="en-US" sz="900" b="0" i="0" u="none" strike="noStrike" kern="1200" spc="0" noProof="0">
                          <a:solidFill>
                            <a:schemeClr val="tx1">
                              <a:lumMod val="50000"/>
                            </a:schemeClr>
                          </a:solidFill>
                          <a:latin typeface="+mn-lt"/>
                          <a:ea typeface="+mn-ea"/>
                          <a:cs typeface="+mn-cs"/>
                        </a:rPr>
                        <a:t>Install - Complex</a:t>
                      </a:r>
                      <a:endParaRPr lang="en-US" sz="900"/>
                    </a:p>
                    <a:p>
                      <a:pPr marL="171450" marR="0" lvl="1" indent="-171450" algn="l" rtl="0">
                        <a:lnSpc>
                          <a:spcPct val="100000"/>
                        </a:lnSpc>
                        <a:spcBef>
                          <a:spcPts val="0"/>
                        </a:spcBef>
                        <a:spcAft>
                          <a:spcPts val="0"/>
                        </a:spcAft>
                        <a:buClr>
                          <a:srgbClr val="55555A"/>
                        </a:buClr>
                        <a:buFont typeface="Arial"/>
                        <a:buChar char="•"/>
                      </a:pPr>
                      <a:r>
                        <a:rPr lang="en-US" sz="900" b="0" i="0" u="none" strike="noStrike" kern="1200" spc="0" noProof="0">
                          <a:solidFill>
                            <a:schemeClr val="tx1">
                              <a:lumMod val="50000"/>
                            </a:schemeClr>
                          </a:solidFill>
                          <a:latin typeface="+mn-lt"/>
                          <a:ea typeface="+mn-ea"/>
                          <a:cs typeface="+mn-cs"/>
                        </a:rPr>
                        <a:t>Replication Stream – Complex</a:t>
                      </a:r>
                      <a:endParaRPr lang="en-US" sz="900" b="0" i="0" u="none" strike="noStrike" kern="1200" spc="0">
                        <a:solidFill>
                          <a:schemeClr val="tx1">
                            <a:lumMod val="50000"/>
                          </a:schemeClr>
                        </a:solidFill>
                        <a:latin typeface="+mn-lt"/>
                        <a:ea typeface="+mn-ea"/>
                        <a:cs typeface="+mn-cs"/>
                      </a:endParaRPr>
                    </a:p>
                  </a:txBody>
                  <a:tcPr marL="40499" marR="40499" marT="40499" marB="40499"/>
                </a:tc>
                <a:extLst>
                  <a:ext uri="{0D108BD9-81ED-4DB2-BD59-A6C34878D82A}">
                    <a16:rowId xmlns:a16="http://schemas.microsoft.com/office/drawing/2014/main" val="1410192095"/>
                  </a:ext>
                </a:extLst>
              </a:tr>
              <a:tr h="547687">
                <a:tc>
                  <a:txBody>
                    <a:bodyPr/>
                    <a:lstStyle/>
                    <a:p>
                      <a:pPr algn="l"/>
                      <a:r>
                        <a:rPr lang="en-US" sz="900" b="1">
                          <a:solidFill>
                            <a:srgbClr val="000000"/>
                          </a:solidFill>
                        </a:rPr>
                        <a:t>10</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a:solidFill>
                            <a:srgbClr val="000000"/>
                          </a:solidFill>
                          <a:latin typeface="Arial"/>
                          <a:ea typeface="+mn-ea"/>
                          <a:cs typeface="+mn-cs"/>
                        </a:rPr>
                        <a:t>IBM </a:t>
                      </a:r>
                      <a:r>
                        <a:rPr lang="en-US" sz="900" b="1" i="0" u="none" kern="1200" spc="0" err="1">
                          <a:solidFill>
                            <a:srgbClr val="000000"/>
                          </a:solidFill>
                          <a:latin typeface="Arial"/>
                          <a:ea typeface="+mn-ea"/>
                          <a:cs typeface="+mn-cs"/>
                        </a:rPr>
                        <a:t>InfoSphere</a:t>
                      </a:r>
                      <a:r>
                        <a:rPr lang="en-US" sz="900" b="1" i="0" u="none" kern="1200" spc="0">
                          <a:solidFill>
                            <a:srgbClr val="000000"/>
                          </a:solidFill>
                          <a:latin typeface="Arial"/>
                          <a:ea typeface="+mn-ea"/>
                          <a:cs typeface="+mn-cs"/>
                        </a:rPr>
                        <a:t> Change Data Delivery</a:t>
                      </a:r>
                      <a:endParaRPr lang="en-US" sz="900"/>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kern="1200" spc="0" noProof="0">
                          <a:solidFill>
                            <a:srgbClr val="000000"/>
                          </a:solidFill>
                          <a:latin typeface="Arial"/>
                          <a:ea typeface="+mn-ea"/>
                          <a:cs typeface="+mn-cs"/>
                        </a:rPr>
                        <a:t>License – Annual and High</a:t>
                      </a:r>
                    </a:p>
                  </a:txBody>
                  <a:tcPr marL="40500" marR="40500" marT="40500" marB="40500"/>
                </a:tc>
                <a:tc>
                  <a:txBody>
                    <a:bodyPr/>
                    <a:lstStyle/>
                    <a:p>
                      <a:pPr marL="171450" lvl="0" indent="-171450" algn="l">
                        <a:buFont typeface="Arial"/>
                        <a:buChar char="•"/>
                      </a:pPr>
                      <a:r>
                        <a:rPr lang="en-US" sz="900" b="0" i="0" u="none" kern="1200" spc="0" noProof="0">
                          <a:solidFill>
                            <a:srgbClr val="000000"/>
                          </a:solidFill>
                          <a:latin typeface="Arial"/>
                          <a:ea typeface="+mn-ea"/>
                          <a:cs typeface="+mn-cs"/>
                        </a:rPr>
                        <a:t>The setup is extremely difficult. It is  too technical. Data stage is required.</a:t>
                      </a:r>
                      <a:endParaRPr lang="en-US" sz="900" b="0" i="0" u="none" kern="1200" spc="0">
                        <a:solidFill>
                          <a:srgbClr val="000000"/>
                        </a:solidFill>
                        <a:latin typeface="Arial"/>
                        <a:ea typeface="+mn-ea"/>
                        <a:cs typeface="+mn-cs"/>
                      </a:endParaRPr>
                    </a:p>
                  </a:txBody>
                  <a:tcPr marL="40500" marR="40500" marT="40500" marB="40500"/>
                </a:tc>
                <a:tc>
                  <a:txBody>
                    <a:bodyPr/>
                    <a:lstStyle/>
                    <a:p>
                      <a:pPr marL="171450" lvl="0" indent="-171450" algn="l">
                        <a:buFont typeface="Arial"/>
                        <a:buChar char="•"/>
                      </a:pPr>
                      <a:r>
                        <a:rPr lang="en-US" sz="900" b="0" i="0" u="none" kern="1200" spc="0" noProof="0">
                          <a:solidFill>
                            <a:srgbClr val="000000"/>
                          </a:solidFill>
                          <a:latin typeface="Arial"/>
                          <a:ea typeface="+mn-ea"/>
                          <a:cs typeface="+mn-cs"/>
                        </a:rPr>
                        <a:t>Once you have Infosphere up and running properly, it is stable.</a:t>
                      </a:r>
                      <a:endParaRPr lang="en-US" sz="900" b="0" i="0" u="none" kern="1200" spc="0">
                        <a:solidFill>
                          <a:srgbClr val="000000"/>
                        </a:solidFill>
                        <a:latin typeface="Arial"/>
                        <a:ea typeface="+mn-ea"/>
                        <a:cs typeface="+mn-cs"/>
                      </a:endParaRPr>
                    </a:p>
                  </a:txBody>
                  <a:tcPr marL="40500" marR="40500" marT="40500" marB="40500"/>
                </a:tc>
                <a:extLst>
                  <a:ext uri="{0D108BD9-81ED-4DB2-BD59-A6C34878D82A}">
                    <a16:rowId xmlns:a16="http://schemas.microsoft.com/office/drawing/2014/main" val="4222057156"/>
                  </a:ext>
                </a:extLst>
              </a:tr>
              <a:tr h="547687">
                <a:tc>
                  <a:txBody>
                    <a:bodyPr/>
                    <a:lstStyle/>
                    <a:p>
                      <a:pPr lvl="0" algn="l">
                        <a:buNone/>
                      </a:pPr>
                      <a:r>
                        <a:rPr lang="en-US" sz="900" b="1">
                          <a:solidFill>
                            <a:srgbClr val="000000"/>
                          </a:solidFill>
                        </a:rPr>
                        <a:t>11</a:t>
                      </a:r>
                      <a:endParaRPr lang="en-US" sz="900" b="1" dirty="0">
                        <a:solidFill>
                          <a:srgbClr val="000000"/>
                        </a:solidFill>
                      </a:endParaRPr>
                    </a:p>
                  </a:txBody>
                  <a:tcPr marL="13499" marR="13499" marT="13499" marB="13499"/>
                </a:tc>
                <a:tc>
                  <a:txBody>
                    <a:bodyPr/>
                    <a:lstStyle/>
                    <a:p>
                      <a:pPr marL="0" lvl="0" indent="0" algn="l">
                        <a:lnSpc>
                          <a:spcPct val="100000"/>
                        </a:lnSpc>
                        <a:spcBef>
                          <a:spcPct val="0"/>
                        </a:spcBef>
                        <a:spcAft>
                          <a:spcPts val="600"/>
                        </a:spcAft>
                        <a:buNone/>
                      </a:pPr>
                      <a:r>
                        <a:rPr lang="en-US" sz="900" b="1" i="0" u="none" kern="1200" spc="0">
                          <a:solidFill>
                            <a:srgbClr val="000000"/>
                          </a:solidFill>
                          <a:latin typeface="Arial"/>
                          <a:ea typeface="+mn-ea"/>
                          <a:cs typeface="+mn-cs"/>
                        </a:rPr>
                        <a:t>IBM SQLReplicator /QueueReplicator</a:t>
                      </a:r>
                      <a:endParaRPr lang="en-US" sz="900" b="1" i="0" u="none" kern="1200" spc="0" dirty="0">
                        <a:solidFill>
                          <a:srgbClr val="000000"/>
                        </a:solidFill>
                        <a:latin typeface="Arial"/>
                        <a:ea typeface="+mn-ea"/>
                        <a:cs typeface="+mn-cs"/>
                      </a:endParaRPr>
                    </a:p>
                  </a:txBody>
                  <a:tcPr marL="40499" marR="40499" marT="40499" marB="40499"/>
                </a:tc>
                <a:tc>
                  <a:txBody>
                    <a:bodyPr/>
                    <a:lstStyle/>
                    <a:p>
                      <a:pPr marL="171450" lvl="1" indent="-171450" algn="l">
                        <a:lnSpc>
                          <a:spcPct val="100000"/>
                        </a:lnSpc>
                        <a:spcBef>
                          <a:spcPts val="0"/>
                        </a:spcBef>
                        <a:spcAft>
                          <a:spcPts val="0"/>
                        </a:spcAft>
                        <a:buFont typeface="Arial"/>
                        <a:buChar char="•"/>
                      </a:pPr>
                      <a:r>
                        <a:rPr lang="en-US" sz="900" b="0" i="0" u="none" kern="1200" spc="0" noProof="0">
                          <a:solidFill>
                            <a:srgbClr val="000000"/>
                          </a:solidFill>
                          <a:latin typeface="Arial"/>
                          <a:ea typeface="+mn-ea"/>
                          <a:cs typeface="+mn-cs"/>
                        </a:rPr>
                        <a:t>No additional cost</a:t>
                      </a:r>
                      <a:endParaRPr lang="en-US" sz="900" b="0" i="0" u="none" kern="1200" spc="0" noProof="0" dirty="0">
                        <a:solidFill>
                          <a:srgbClr val="000000"/>
                        </a:solidFill>
                        <a:latin typeface="Arial"/>
                        <a:ea typeface="+mn-ea"/>
                        <a:cs typeface="+mn-cs"/>
                      </a:endParaRPr>
                    </a:p>
                  </a:txBody>
                  <a:tcPr marL="40499" marR="40499" marT="40499" marB="40499"/>
                </a:tc>
                <a:tc>
                  <a:txBody>
                    <a:bodyPr/>
                    <a:lstStyle/>
                    <a:p>
                      <a:pPr marL="171450" lvl="0" indent="-171450" algn="l">
                        <a:buFont typeface="Arial"/>
                        <a:buChar char="•"/>
                      </a:pPr>
                      <a:r>
                        <a:rPr lang="en-US" sz="900" b="0" i="0" u="none" kern="1200" spc="0" noProof="0">
                          <a:solidFill>
                            <a:srgbClr val="000000"/>
                          </a:solidFill>
                          <a:latin typeface="Arial"/>
                          <a:ea typeface="+mn-ea"/>
                          <a:cs typeface="+mn-cs"/>
                        </a:rPr>
                        <a:t>MInimum as already using it</a:t>
                      </a:r>
                      <a:endParaRPr lang="en-US" sz="900" b="0" i="0" u="none" kern="1200" spc="0" noProof="0" dirty="0">
                        <a:solidFill>
                          <a:srgbClr val="000000"/>
                        </a:solidFill>
                        <a:latin typeface="Arial"/>
                        <a:ea typeface="+mn-ea"/>
                        <a:cs typeface="+mn-cs"/>
                      </a:endParaRPr>
                    </a:p>
                  </a:txBody>
                  <a:tcPr marL="40499" marR="40499" marT="40499" marB="40499"/>
                </a:tc>
                <a:tc>
                  <a:txBody>
                    <a:bodyPr/>
                    <a:lstStyle/>
                    <a:p>
                      <a:pPr marL="171450" lvl="0" indent="-171450" algn="l">
                        <a:buFont typeface="Arial"/>
                        <a:buChar char="•"/>
                      </a:pPr>
                      <a:r>
                        <a:rPr lang="en-US" sz="900" b="0" i="0" u="none" kern="1200" spc="0" noProof="0" dirty="0">
                          <a:solidFill>
                            <a:srgbClr val="000000"/>
                          </a:solidFill>
                          <a:latin typeface="Arial"/>
                          <a:ea typeface="+mn-ea"/>
                          <a:cs typeface="+mn-cs"/>
                        </a:rPr>
                        <a:t>Should be quick but needs much more storage and processing resources on the </a:t>
                      </a:r>
                      <a:r>
                        <a:rPr lang="en-US" sz="900" b="0" i="0" u="none" kern="1200" spc="0" noProof="0">
                          <a:solidFill>
                            <a:srgbClr val="000000"/>
                          </a:solidFill>
                          <a:latin typeface="Arial"/>
                          <a:ea typeface="+mn-ea"/>
                          <a:cs typeface="+mn-cs"/>
                        </a:rPr>
                        <a:t>Mainframe</a:t>
                      </a:r>
                      <a:endParaRPr lang="en-US" sz="900" b="0" i="0" u="none" kern="1200" spc="0" noProof="0" dirty="0">
                        <a:solidFill>
                          <a:srgbClr val="000000"/>
                        </a:solidFill>
                        <a:latin typeface="Arial"/>
                        <a:ea typeface="+mn-ea"/>
                        <a:cs typeface="+mn-cs"/>
                      </a:endParaRPr>
                    </a:p>
                    <a:p>
                      <a:pPr marL="171450" lvl="0" indent="-171450" algn="l">
                        <a:buFont typeface="Arial"/>
                        <a:buChar char="•"/>
                      </a:pPr>
                      <a:r>
                        <a:rPr lang="en-US" sz="900" b="0" i="0" u="none" kern="1200" spc="0" noProof="0">
                          <a:solidFill>
                            <a:srgbClr val="000000"/>
                          </a:solidFill>
                          <a:latin typeface="Arial"/>
                          <a:ea typeface="+mn-ea"/>
                          <a:cs typeface="+mn-cs"/>
                        </a:rPr>
                        <a:t>Requires new setrup or may not work with CRIS</a:t>
                      </a:r>
                    </a:p>
                  </a:txBody>
                  <a:tcPr marL="40499" marR="40499" marT="40499" marB="40499"/>
                </a:tc>
                <a:extLst>
                  <a:ext uri="{0D108BD9-81ED-4DB2-BD59-A6C34878D82A}">
                    <a16:rowId xmlns:a16="http://schemas.microsoft.com/office/drawing/2014/main" val="1801687858"/>
                  </a:ext>
                </a:extLst>
              </a:tr>
              <a:tr h="547687">
                <a:tc>
                  <a:txBody>
                    <a:bodyPr/>
                    <a:lstStyle/>
                    <a:p>
                      <a:pPr lvl="0" algn="l">
                        <a:buNone/>
                      </a:pPr>
                      <a:r>
                        <a:rPr lang="en-US" sz="900" b="1">
                          <a:solidFill>
                            <a:srgbClr val="000000"/>
                          </a:solidFill>
                        </a:rPr>
                        <a:t>12</a:t>
                      </a:r>
                      <a:endParaRPr lang="en-US" sz="900" b="1" dirty="0">
                        <a:solidFill>
                          <a:srgbClr val="000000"/>
                        </a:solidFill>
                      </a:endParaRPr>
                    </a:p>
                  </a:txBody>
                  <a:tcPr marL="13498" marR="13498" marT="13498" marB="13498"/>
                </a:tc>
                <a:tc>
                  <a:txBody>
                    <a:bodyPr/>
                    <a:lstStyle/>
                    <a:p>
                      <a:pPr marL="0" lvl="0" indent="0" algn="l">
                        <a:lnSpc>
                          <a:spcPct val="100000"/>
                        </a:lnSpc>
                        <a:spcBef>
                          <a:spcPct val="0"/>
                        </a:spcBef>
                        <a:spcAft>
                          <a:spcPts val="600"/>
                        </a:spcAft>
                        <a:buNone/>
                      </a:pPr>
                      <a:r>
                        <a:rPr lang="en-US" sz="900" b="1" i="0" u="none" kern="1200" spc="0">
                          <a:solidFill>
                            <a:srgbClr val="000000"/>
                          </a:solidFill>
                          <a:latin typeface="Arial"/>
                          <a:ea typeface="+mn-ea"/>
                          <a:cs typeface="+mn-cs"/>
                        </a:rPr>
                        <a:t>Matillion</a:t>
                      </a:r>
                      <a:endParaRPr lang="en-US" sz="900" b="1" i="0" u="none" kern="1200" spc="0" dirty="0">
                        <a:solidFill>
                          <a:srgbClr val="000000"/>
                        </a:solidFill>
                        <a:latin typeface="Arial"/>
                        <a:ea typeface="+mn-ea"/>
                        <a:cs typeface="+mn-cs"/>
                      </a:endParaRPr>
                    </a:p>
                  </a:txBody>
                  <a:tcPr marL="40499" marR="40499" marT="40499" marB="40499"/>
                </a:tc>
                <a:tc>
                  <a:txBody>
                    <a:bodyPr/>
                    <a:lstStyle/>
                    <a:p>
                      <a:pPr marL="171450" lvl="1" indent="-171450" algn="l">
                        <a:lnSpc>
                          <a:spcPct val="100000"/>
                        </a:lnSpc>
                        <a:spcBef>
                          <a:spcPts val="0"/>
                        </a:spcBef>
                        <a:spcAft>
                          <a:spcPts val="0"/>
                        </a:spcAft>
                        <a:buFont typeface="Arial"/>
                        <a:buChar char="•"/>
                      </a:pPr>
                      <a:r>
                        <a:rPr lang="en-US" sz="900" b="0" i="0" u="none" strike="noStrike" kern="1200" spc="0" noProof="0">
                          <a:solidFill>
                            <a:srgbClr val="000000"/>
                          </a:solidFill>
                          <a:latin typeface="Arial"/>
                        </a:rPr>
                        <a:t>License – Annual and High</a:t>
                      </a:r>
                      <a:endParaRPr lang="en-US" sz="900" b="0" i="0" u="none" kern="1200" spc="0" noProof="0" dirty="0">
                        <a:solidFill>
                          <a:srgbClr val="000000"/>
                        </a:solidFill>
                        <a:latin typeface="Arial"/>
                        <a:ea typeface="+mn-ea"/>
                        <a:cs typeface="+mn-cs"/>
                      </a:endParaRPr>
                    </a:p>
                  </a:txBody>
                  <a:tcPr marL="40499" marR="40499" marT="40499" marB="40499"/>
                </a:tc>
                <a:tc>
                  <a:txBody>
                    <a:bodyPr/>
                    <a:lstStyle/>
                    <a:p>
                      <a:pPr marL="171450" lvl="0" indent="-171450" algn="l">
                        <a:buFont typeface="Arial"/>
                        <a:buChar char="•"/>
                      </a:pPr>
                      <a:r>
                        <a:rPr lang="en-US" sz="900" b="0" i="0" u="none" kern="1200" spc="0" noProof="0">
                          <a:solidFill>
                            <a:srgbClr val="000000"/>
                          </a:solidFill>
                          <a:latin typeface="Arial"/>
                          <a:ea typeface="+mn-ea"/>
                          <a:cs typeface="+mn-cs"/>
                        </a:rPr>
                        <a:t>Should be minimum</a:t>
                      </a:r>
                      <a:endParaRPr lang="en-US" sz="900" b="0" i="0" u="none" kern="1200" spc="0" noProof="0" dirty="0">
                        <a:solidFill>
                          <a:srgbClr val="000000"/>
                        </a:solidFill>
                        <a:latin typeface="Arial"/>
                        <a:ea typeface="+mn-ea"/>
                        <a:cs typeface="+mn-cs"/>
                      </a:endParaRPr>
                    </a:p>
                  </a:txBody>
                  <a:tcPr marL="40499" marR="40499" marT="40499" marB="40499"/>
                </a:tc>
                <a:tc>
                  <a:txBody>
                    <a:bodyPr/>
                    <a:lstStyle/>
                    <a:p>
                      <a:pPr marL="171450" lvl="0" indent="-171450" algn="l">
                        <a:buFont typeface="Arial"/>
                        <a:buChar char="•"/>
                      </a:pPr>
                      <a:r>
                        <a:rPr lang="en-US" sz="900" b="0" i="0" u="none" kern="1200" spc="0" noProof="0">
                          <a:solidFill>
                            <a:srgbClr val="000000"/>
                          </a:solidFill>
                          <a:latin typeface="Arial"/>
                          <a:ea typeface="+mn-ea"/>
                          <a:cs typeface="+mn-cs"/>
                        </a:rPr>
                        <a:t>Fast once available in FY2022 Q4</a:t>
                      </a:r>
                      <a:endParaRPr lang="en-US" sz="900" b="0" i="0" u="none" kern="1200" spc="0" noProof="0" dirty="0">
                        <a:solidFill>
                          <a:srgbClr val="000000"/>
                        </a:solidFill>
                        <a:latin typeface="Arial"/>
                        <a:ea typeface="+mn-ea"/>
                        <a:cs typeface="+mn-cs"/>
                      </a:endParaRPr>
                    </a:p>
                  </a:txBody>
                  <a:tcPr marL="40499" marR="40499" marT="40499" marB="40499"/>
                </a:tc>
                <a:extLst>
                  <a:ext uri="{0D108BD9-81ED-4DB2-BD59-A6C34878D82A}">
                    <a16:rowId xmlns:a16="http://schemas.microsoft.com/office/drawing/2014/main" val="2782304439"/>
                  </a:ext>
                </a:extLst>
              </a:tr>
              <a:tr h="399357">
                <a:tc>
                  <a:txBody>
                    <a:bodyPr/>
                    <a:lstStyle/>
                    <a:p>
                      <a:pPr algn="l"/>
                      <a:r>
                        <a:rPr lang="en-US" sz="900" b="1">
                          <a:solidFill>
                            <a:srgbClr val="000000"/>
                          </a:solidFill>
                        </a:rPr>
                        <a:t>13</a:t>
                      </a:r>
                    </a:p>
                  </a:txBody>
                  <a:tcPr marL="13500" marR="13500" marT="13500" marB="13500"/>
                </a:tc>
                <a:tc>
                  <a:txBody>
                    <a:bodyPr/>
                    <a:lstStyle/>
                    <a:p>
                      <a:pPr algn="l"/>
                      <a:r>
                        <a:rPr lang="en-US" sz="900" b="1">
                          <a:solidFill>
                            <a:srgbClr val="000000"/>
                          </a:solidFill>
                        </a:rPr>
                        <a:t>Other Tools</a:t>
                      </a:r>
                    </a:p>
                  </a:txBody>
                  <a:tcPr marL="40500" marR="40500" marT="40500" marB="40500"/>
                </a:tc>
                <a:tc>
                  <a:txBody>
                    <a:bodyPr/>
                    <a:lstStyle/>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panose="020B0604020202020204" pitchFamily="34" charset="0"/>
                          <a:ea typeface="+mn-ea"/>
                          <a:cs typeface="+mn-cs"/>
                        </a:rPr>
                        <a:t>HIT Software DB Moto</a:t>
                      </a:r>
                    </a:p>
                    <a:p>
                      <a:pPr marL="285750" indent="-285750" rtl="0" fontAlgn="ctr">
                        <a:spcAft>
                          <a:spcPts val="0"/>
                        </a:spcAft>
                        <a:buFont typeface="Arial" panose="020B0604020202020204" pitchFamily="34" charset="0"/>
                        <a:buChar char="•"/>
                      </a:pPr>
                      <a:r>
                        <a:rPr lang="en-US" sz="900" b="0" i="0" u="none" kern="1200" spc="0" err="1">
                          <a:solidFill>
                            <a:srgbClr val="000000"/>
                          </a:solidFill>
                          <a:latin typeface="Arial"/>
                          <a:ea typeface="+mn-ea"/>
                          <a:cs typeface="+mn-cs"/>
                        </a:rPr>
                        <a:t>Syniti</a:t>
                      </a:r>
                      <a:r>
                        <a:rPr lang="en-US" sz="900" b="0" i="0" u="none" kern="1200" spc="0">
                          <a:solidFill>
                            <a:srgbClr val="000000"/>
                          </a:solidFill>
                          <a:latin typeface="Arial"/>
                          <a:ea typeface="+mn-ea"/>
                          <a:cs typeface="+mn-cs"/>
                        </a:rPr>
                        <a:t> Data Replication</a:t>
                      </a:r>
                    </a:p>
                    <a:p>
                      <a:pPr marL="285750" indent="-285750" rtl="0" fontAlgn="ctr">
                        <a:spcAft>
                          <a:spcPts val="0"/>
                        </a:spcAft>
                        <a:buFont typeface="Arial" panose="020B0604020202020204" pitchFamily="34" charset="0"/>
                        <a:buChar char="•"/>
                      </a:pPr>
                      <a:r>
                        <a:rPr lang="en-US" sz="900" b="0" i="0" u="none" kern="1200" spc="0" err="1">
                          <a:solidFill>
                            <a:srgbClr val="000000"/>
                          </a:solidFill>
                          <a:latin typeface="Arial"/>
                          <a:ea typeface="+mn-ea"/>
                          <a:cs typeface="+mn-cs"/>
                        </a:rPr>
                        <a:t>Cdata</a:t>
                      </a:r>
                      <a:r>
                        <a:rPr lang="en-US" sz="900" b="0" i="0" u="none" kern="1200" spc="0">
                          <a:solidFill>
                            <a:srgbClr val="000000"/>
                          </a:solidFill>
                          <a:latin typeface="Arial"/>
                          <a:ea typeface="+mn-ea"/>
                          <a:cs typeface="+mn-cs"/>
                        </a:rPr>
                        <a:t> Sync</a:t>
                      </a:r>
                    </a:p>
                    <a:p>
                      <a:pPr marL="285750" marR="0" lvl="0" indent="-285750" algn="l" defTabSz="914400" rtl="0" eaLnBrk="1" fontAlgn="ctr"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900" b="0" i="0" u="none" kern="1200" spc="0">
                          <a:solidFill>
                            <a:srgbClr val="000000"/>
                          </a:solidFill>
                          <a:latin typeface="Arial" panose="020B0604020202020204" pitchFamily="34" charset="0"/>
                          <a:ea typeface="+mn-ea"/>
                          <a:cs typeface="+mn-cs"/>
                        </a:rPr>
                        <a:t>Data Virtuality Pipes</a:t>
                      </a:r>
                    </a:p>
                  </a:txBody>
                  <a:tcPr marL="40500" marR="40500" marT="40500" marB="40500"/>
                </a:tc>
                <a:tc>
                  <a:txBody>
                    <a:bodyPr/>
                    <a:lstStyle/>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a:ea typeface="+mn-ea"/>
                          <a:cs typeface="+mn-cs"/>
                        </a:rPr>
                        <a:t>Equalum</a:t>
                      </a:r>
                    </a:p>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a:ea typeface="+mn-ea"/>
                          <a:cs typeface="+mn-cs"/>
                        </a:rPr>
                        <a:t>informatica Power Exchange</a:t>
                      </a:r>
                    </a:p>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a:ea typeface="+mn-ea"/>
                          <a:cs typeface="+mn-cs"/>
                        </a:rPr>
                        <a:t>Distribute the MQ load</a:t>
                      </a: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900" b="0" i="0" u="none" strike="noStrike" kern="1200" spc="0">
                        <a:solidFill>
                          <a:schemeClr val="dk1"/>
                        </a:solidFill>
                        <a:latin typeface="+mn-lt"/>
                        <a:ea typeface="+mn-ea"/>
                        <a:cs typeface="+mn-cs"/>
                      </a:endParaRPr>
                    </a:p>
                  </a:txBody>
                  <a:tcPr marL="40500" marR="40500" marT="40500" marB="40500"/>
                </a:tc>
                <a:extLst>
                  <a:ext uri="{0D108BD9-81ED-4DB2-BD59-A6C34878D82A}">
                    <a16:rowId xmlns:a16="http://schemas.microsoft.com/office/drawing/2014/main" val="3343480495"/>
                  </a:ext>
                </a:extLst>
              </a:tr>
            </a:tbl>
          </a:graphicData>
        </a:graphic>
      </p:graphicFrame>
    </p:spTree>
    <p:extLst>
      <p:ext uri="{BB962C8B-B14F-4D97-AF65-F5344CB8AC3E}">
        <p14:creationId xmlns:p14="http://schemas.microsoft.com/office/powerpoint/2010/main" val="3144636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59907ED8-794C-4E83-8AB7-EC88DD68083F}"/>
              </a:ext>
            </a:extLst>
          </p:cNvPr>
          <p:cNvGraphicFramePr>
            <a:graphicFrameLocks noGrp="1"/>
          </p:cNvGraphicFramePr>
          <p:nvPr>
            <p:extLst>
              <p:ext uri="{D42A27DB-BD31-4B8C-83A1-F6EECF244321}">
                <p14:modId xmlns:p14="http://schemas.microsoft.com/office/powerpoint/2010/main" val="1434439172"/>
              </p:ext>
            </p:extLst>
          </p:nvPr>
        </p:nvGraphicFramePr>
        <p:xfrm>
          <a:off x="168489" y="483810"/>
          <a:ext cx="8768198" cy="4325061"/>
        </p:xfrm>
        <a:graphic>
          <a:graphicData uri="http://schemas.openxmlformats.org/drawingml/2006/table">
            <a:tbl>
              <a:tblPr firstRow="1" bandRow="1">
                <a:tableStyleId>{5C22544A-7EE6-4342-B048-85BDC9FD1C3A}</a:tableStyleId>
              </a:tblPr>
              <a:tblGrid>
                <a:gridCol w="226218">
                  <a:extLst>
                    <a:ext uri="{9D8B030D-6E8A-4147-A177-3AD203B41FA5}">
                      <a16:colId xmlns:a16="http://schemas.microsoft.com/office/drawing/2014/main" val="2334813724"/>
                    </a:ext>
                  </a:extLst>
                </a:gridCol>
                <a:gridCol w="1357893">
                  <a:extLst>
                    <a:ext uri="{9D8B030D-6E8A-4147-A177-3AD203B41FA5}">
                      <a16:colId xmlns:a16="http://schemas.microsoft.com/office/drawing/2014/main" val="3548610838"/>
                    </a:ext>
                  </a:extLst>
                </a:gridCol>
                <a:gridCol w="4655818">
                  <a:extLst>
                    <a:ext uri="{9D8B030D-6E8A-4147-A177-3AD203B41FA5}">
                      <a16:colId xmlns:a16="http://schemas.microsoft.com/office/drawing/2014/main" val="3523463392"/>
                    </a:ext>
                  </a:extLst>
                </a:gridCol>
                <a:gridCol w="822959">
                  <a:extLst>
                    <a:ext uri="{9D8B030D-6E8A-4147-A177-3AD203B41FA5}">
                      <a16:colId xmlns:a16="http://schemas.microsoft.com/office/drawing/2014/main" val="752791419"/>
                    </a:ext>
                  </a:extLst>
                </a:gridCol>
                <a:gridCol w="876299">
                  <a:extLst>
                    <a:ext uri="{9D8B030D-6E8A-4147-A177-3AD203B41FA5}">
                      <a16:colId xmlns:a16="http://schemas.microsoft.com/office/drawing/2014/main" val="2688450755"/>
                    </a:ext>
                  </a:extLst>
                </a:gridCol>
                <a:gridCol w="829011">
                  <a:extLst>
                    <a:ext uri="{9D8B030D-6E8A-4147-A177-3AD203B41FA5}">
                      <a16:colId xmlns:a16="http://schemas.microsoft.com/office/drawing/2014/main" val="2913174946"/>
                    </a:ext>
                  </a:extLst>
                </a:gridCol>
              </a:tblGrid>
              <a:tr h="338853">
                <a:tc>
                  <a:txBody>
                    <a:bodyPr/>
                    <a:lstStyle/>
                    <a:p>
                      <a:pPr algn="l"/>
                      <a:r>
                        <a:rPr lang="en-US" sz="1000">
                          <a:solidFill>
                            <a:schemeClr val="bg1"/>
                          </a:solidFill>
                        </a:rPr>
                        <a:t>#</a:t>
                      </a:r>
                    </a:p>
                  </a:txBody>
                  <a:tcPr/>
                </a:tc>
                <a:tc>
                  <a:txBody>
                    <a:bodyPr/>
                    <a:lstStyle/>
                    <a:p>
                      <a:pPr algn="l"/>
                      <a:r>
                        <a:rPr lang="en-US" sz="1000" b="1">
                          <a:solidFill>
                            <a:schemeClr val="bg1"/>
                          </a:solidFill>
                        </a:rPr>
                        <a:t>Option</a:t>
                      </a:r>
                      <a:endParaRPr lang="en-US" sz="1000">
                        <a:solidFill>
                          <a:schemeClr val="bg1"/>
                        </a:solidFill>
                      </a:endParaRPr>
                    </a:p>
                  </a:txBody>
                  <a:tcPr/>
                </a:tc>
                <a:tc>
                  <a:txBody>
                    <a:bodyPr/>
                    <a:lstStyle/>
                    <a:p>
                      <a:pPr marL="0" indent="0" algn="l"/>
                      <a:r>
                        <a:rPr lang="en-US" sz="1000" b="1">
                          <a:solidFill>
                            <a:schemeClr val="bg1"/>
                          </a:solidFill>
                        </a:rPr>
                        <a:t>Description</a:t>
                      </a:r>
                      <a:endParaRPr lang="en-US" sz="1000">
                        <a:solidFill>
                          <a:schemeClr val="bg1"/>
                        </a:solidFill>
                      </a:endParaRPr>
                    </a:p>
                  </a:txBody>
                  <a:tcPr/>
                </a:tc>
                <a:tc>
                  <a:txBody>
                    <a:bodyPr/>
                    <a:lstStyle/>
                    <a:p>
                      <a:pPr algn="ctr"/>
                      <a:r>
                        <a:rPr lang="en-US" sz="1000" b="1">
                          <a:solidFill>
                            <a:schemeClr val="bg1"/>
                          </a:solidFill>
                        </a:rPr>
                        <a:t>CSS</a:t>
                      </a:r>
                      <a:endParaRPr lang="en-US" sz="1000">
                        <a:solidFill>
                          <a:schemeClr val="bg1"/>
                        </a:solidFill>
                      </a:endParaRPr>
                    </a:p>
                  </a:txBody>
                  <a:tcPr/>
                </a:tc>
                <a:tc>
                  <a:txBody>
                    <a:bodyPr/>
                    <a:lstStyle/>
                    <a:p>
                      <a:pPr algn="ctr"/>
                      <a:r>
                        <a:rPr lang="en-US" sz="1000">
                          <a:solidFill>
                            <a:schemeClr val="bg1"/>
                          </a:solidFill>
                        </a:rPr>
                        <a:t>CRIS</a:t>
                      </a:r>
                    </a:p>
                  </a:txBody>
                  <a:tcPr/>
                </a:tc>
                <a:tc>
                  <a:txBody>
                    <a:bodyPr/>
                    <a:lstStyle/>
                    <a:p>
                      <a:pPr algn="ctr"/>
                      <a:r>
                        <a:rPr lang="en-US" sz="1000">
                          <a:solidFill>
                            <a:schemeClr val="bg1"/>
                          </a:solidFill>
                        </a:rPr>
                        <a:t>Other</a:t>
                      </a:r>
                    </a:p>
                  </a:txBody>
                  <a:tcPr/>
                </a:tc>
                <a:extLst>
                  <a:ext uri="{0D108BD9-81ED-4DB2-BD59-A6C34878D82A}">
                    <a16:rowId xmlns:a16="http://schemas.microsoft.com/office/drawing/2014/main" val="163652521"/>
                  </a:ext>
                </a:extLst>
              </a:tr>
              <a:tr h="418811">
                <a:tc>
                  <a:txBody>
                    <a:bodyPr/>
                    <a:lstStyle/>
                    <a:p>
                      <a:pPr algn="l"/>
                      <a:r>
                        <a:rPr lang="en-US" sz="900" b="1">
                          <a:solidFill>
                            <a:srgbClr val="000000"/>
                          </a:solidFill>
                        </a:rPr>
                        <a:t>1</a:t>
                      </a:r>
                    </a:p>
                  </a:txBody>
                  <a:tcPr marL="13500" marR="13500" marT="13500" marB="13500"/>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HVR </a:t>
                      </a:r>
                    </a:p>
                  </a:txBody>
                  <a:tcPr marL="40500" marR="40500" marT="40500" marB="40500"/>
                </a:tc>
                <a:tc>
                  <a:txBody>
                    <a:bodyPr/>
                    <a:lstStyle/>
                    <a:p>
                      <a:pPr marL="64770" marR="0" lvl="1" indent="0" algn="l" rtl="0" eaLnBrk="1" fontAlgn="base" hangingPunct="1">
                        <a:lnSpc>
                          <a:spcPct val="100000"/>
                        </a:lnSpc>
                        <a:spcBef>
                          <a:spcPts val="0"/>
                        </a:spcBef>
                        <a:spcAft>
                          <a:spcPts val="0"/>
                        </a:spcAft>
                        <a:buClr>
                          <a:schemeClr val="tx1"/>
                        </a:buClr>
                        <a:buFont typeface="Trebuchet MS" panose="020B0603020202020204" pitchFamily="34" charset="0"/>
                        <a:buNone/>
                      </a:pPr>
                      <a:r>
                        <a:rPr lang="en-US" sz="900" b="0" i="0" u="none" kern="1200" spc="0" noProof="0">
                          <a:solidFill>
                            <a:srgbClr val="000000"/>
                          </a:solidFill>
                          <a:latin typeface="Arial"/>
                          <a:ea typeface="+mn-ea"/>
                          <a:cs typeface="+mn-cs"/>
                        </a:rPr>
                        <a:t>Log-based CDC can be applied to all possible scenarios including systems with extremely high transaction volumes and supported all relational database sources.</a:t>
                      </a:r>
                      <a:endParaRPr lang="en-US" sz="900" b="0" i="0" u="none" kern="1200" spc="0">
                        <a:solidFill>
                          <a:srgbClr val="000000"/>
                        </a:solidFill>
                        <a:latin typeface="Arial"/>
                        <a:ea typeface="+mn-ea"/>
                        <a:cs typeface="+mn-cs"/>
                      </a:endParaRPr>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extLst>
                  <a:ext uri="{0D108BD9-81ED-4DB2-BD59-A6C34878D82A}">
                    <a16:rowId xmlns:a16="http://schemas.microsoft.com/office/drawing/2014/main" val="4222057156"/>
                  </a:ext>
                </a:extLst>
              </a:tr>
              <a:tr h="399357">
                <a:tc>
                  <a:txBody>
                    <a:bodyPr/>
                    <a:lstStyle/>
                    <a:p>
                      <a:pPr algn="l"/>
                      <a:r>
                        <a:rPr lang="en-US" sz="900" b="1">
                          <a:solidFill>
                            <a:srgbClr val="000000"/>
                          </a:solidFill>
                        </a:rPr>
                        <a:t>2</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dirty="0">
                          <a:solidFill>
                            <a:srgbClr val="000000"/>
                          </a:solidFill>
                          <a:latin typeface="Arial"/>
                          <a:ea typeface="+mn-ea"/>
                          <a:cs typeface="+mn-cs"/>
                        </a:rPr>
                        <a:t>Qlik</a:t>
                      </a:r>
                      <a:r>
                        <a:rPr lang="en-US" sz="900" b="1" i="0" u="none" strike="noStrike" kern="1200" spc="0" noProof="0" dirty="0">
                          <a:solidFill>
                            <a:srgbClr val="000000"/>
                          </a:solidFill>
                          <a:latin typeface="Arial"/>
                        </a:rPr>
                        <a:t> Replicate</a:t>
                      </a:r>
                      <a:endParaRPr lang="en-US" sz="900" b="1" i="0" u="none" kern="1200" spc="0" dirty="0">
                        <a:solidFill>
                          <a:srgbClr val="000000"/>
                        </a:solidFill>
                        <a:latin typeface="Arial"/>
                        <a:ea typeface="+mn-ea"/>
                        <a:cs typeface="+mn-cs"/>
                      </a:endParaRPr>
                    </a:p>
                  </a:txBody>
                  <a:tcPr marL="40500" marR="40500" marT="40500" marB="40500"/>
                </a:tc>
                <a:tc>
                  <a:txBody>
                    <a:bodyPr/>
                    <a:lstStyle/>
                    <a:p>
                      <a:pPr marL="64770" marR="0" lvl="1" indent="0" algn="l" rtl="0" eaLnBrk="1" fontAlgn="base" hangingPunct="1">
                        <a:lnSpc>
                          <a:spcPct val="100000"/>
                        </a:lnSpc>
                        <a:spcBef>
                          <a:spcPts val="0"/>
                        </a:spcBef>
                        <a:spcAft>
                          <a:spcPts val="0"/>
                        </a:spcAft>
                        <a:buClr>
                          <a:schemeClr val="tx1"/>
                        </a:buClr>
                        <a:buFont typeface="Trebuchet MS" panose="020B0603020202020204" pitchFamily="34" charset="0"/>
                        <a:buNone/>
                      </a:pPr>
                      <a:r>
                        <a:rPr lang="en-US" sz="900" b="0" i="0" u="none" kern="1200" spc="0">
                          <a:solidFill>
                            <a:srgbClr val="000000"/>
                          </a:solidFill>
                          <a:latin typeface="Arial"/>
                          <a:ea typeface="+mn-ea"/>
                          <a:cs typeface="+mn-cs"/>
                        </a:rPr>
                        <a:t>High-performance universal data replication platform that is easy to use and offers quick time to value.</a:t>
                      </a:r>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Maybe</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3343480495"/>
                  </a:ext>
                </a:extLst>
              </a:tr>
              <a:tr h="399357">
                <a:tc>
                  <a:txBody>
                    <a:bodyPr/>
                    <a:lstStyle/>
                    <a:p>
                      <a:pPr lvl="0" algn="l">
                        <a:buNone/>
                      </a:pPr>
                      <a:r>
                        <a:rPr lang="en-US" sz="900"/>
                        <a:t>3</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IBM InfoSphere Data Replication (IBM CDC)</a:t>
                      </a:r>
                      <a:endParaRPr lang="en-US" sz="900"/>
                    </a:p>
                  </a:txBody>
                  <a:tcPr marL="40500" marR="40500" marT="40500" marB="40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IDR </a:t>
                      </a:r>
                      <a:r>
                        <a:rPr lang="en-US" sz="900" b="1" i="0" u="none" kern="1200" spc="0">
                          <a:solidFill>
                            <a:srgbClr val="000000"/>
                          </a:solidFill>
                          <a:latin typeface="Arial"/>
                          <a:ea typeface="+mn-ea"/>
                          <a:cs typeface="+mn-cs"/>
                        </a:rPr>
                        <a:t>Remote Capture</a:t>
                      </a:r>
                      <a:r>
                        <a:rPr lang="en-US" sz="900" b="0" i="0" u="none" kern="1200" spc="0">
                          <a:solidFill>
                            <a:srgbClr val="000000"/>
                          </a:solidFill>
                          <a:latin typeface="Arial"/>
                          <a:ea typeface="+mn-ea"/>
                          <a:cs typeface="+mn-cs"/>
                        </a:rPr>
                        <a:t> as a new solution, although it’s really CDC with a new deployment model and pricing model, off mainframe server.</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1686097900"/>
                  </a:ext>
                </a:extLst>
              </a:tr>
              <a:tr h="521855">
                <a:tc>
                  <a:txBody>
                    <a:bodyPr/>
                    <a:lstStyle/>
                    <a:p>
                      <a:pPr lvl="0" algn="l">
                        <a:buNone/>
                      </a:pPr>
                      <a:r>
                        <a:rPr lang="en-US" sz="900" b="1">
                          <a:solidFill>
                            <a:srgbClr val="000000"/>
                          </a:solidFill>
                        </a:rPr>
                        <a:t>4</a:t>
                      </a:r>
                    </a:p>
                  </a:txBody>
                  <a:tcPr marL="13500" marR="13500" marT="13500" marB="13500"/>
                </a:tc>
                <a:tc>
                  <a:txBody>
                    <a:bodyPr/>
                    <a:lstStyle/>
                    <a:p>
                      <a:pPr lvl="0" algn="l">
                        <a:buNone/>
                      </a:pPr>
                      <a:r>
                        <a:rPr lang="en-US" sz="900" b="1">
                          <a:solidFill>
                            <a:srgbClr val="000000"/>
                          </a:solidFill>
                        </a:rPr>
                        <a:t>STRIIM</a:t>
                      </a:r>
                      <a:endParaRPr lang="en-US" sz="900"/>
                    </a:p>
                  </a:txBody>
                  <a:tcPr marL="40500" marR="40500" marT="40500" marB="40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kern="1200">
                          <a:solidFill>
                            <a:srgbClr val="000000"/>
                          </a:solidFill>
                          <a:effectLst/>
                          <a:latin typeface="+mn-lt"/>
                          <a:ea typeface="+mn-ea"/>
                          <a:cs typeface="+mn-cs"/>
                        </a:rPr>
                        <a:t>Replicate data from CSS CDC tables and CRIS data sync event MQ queues </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3582921165"/>
                  </a:ext>
                </a:extLst>
              </a:tr>
              <a:tr h="521855">
                <a:tc>
                  <a:txBody>
                    <a:bodyPr/>
                    <a:lstStyle/>
                    <a:p>
                      <a:pPr algn="l"/>
                      <a:r>
                        <a:rPr lang="en-US" sz="900" b="1">
                          <a:solidFill>
                            <a:srgbClr val="000000"/>
                          </a:solidFill>
                        </a:rPr>
                        <a:t>5</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Kafka Connector</a:t>
                      </a:r>
                      <a:endParaRPr lang="en-US" sz="900"/>
                    </a:p>
                  </a:txBody>
                  <a:tcPr marL="40500" marR="40500" marT="40500" marB="40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Replicate from any supported CDC Replication source to a Kafka cluster by using the CDC Replication Engine for Kafka. This engine writes Kafka messages that contain the replicated data to Kafka topics.</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2693505055"/>
                  </a:ext>
                </a:extLst>
              </a:tr>
              <a:tr h="521855">
                <a:tc>
                  <a:txBody>
                    <a:bodyPr/>
                    <a:lstStyle/>
                    <a:p>
                      <a:pPr algn="l"/>
                      <a:r>
                        <a:rPr lang="en-US" sz="900" b="1">
                          <a:solidFill>
                            <a:srgbClr val="000000"/>
                          </a:solidFill>
                        </a:rPr>
                        <a:t>6</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mn-lt"/>
                          <a:ea typeface="+mn-ea"/>
                          <a:cs typeface="+mn-cs"/>
                        </a:rPr>
                        <a:t>IBM SQL/Queue Replicator</a:t>
                      </a:r>
                      <a:endParaRPr lang="en-US" sz="900"/>
                    </a:p>
                  </a:txBody>
                  <a:tcPr marL="40500" marR="40500" marT="40500" marB="40500"/>
                </a:tc>
                <a:tc>
                  <a:txBody>
                    <a:bodyPr/>
                    <a:lstStyle/>
                    <a:p>
                      <a:pPr marL="64770" marR="0" lvl="1" indent="0" algn="l" rtl="0" eaLnBrk="1" fontAlgn="base" hangingPunct="1">
                        <a:lnSpc>
                          <a:spcPct val="100000"/>
                        </a:lnSpc>
                        <a:spcBef>
                          <a:spcPts val="0"/>
                        </a:spcBef>
                        <a:spcAft>
                          <a:spcPts val="0"/>
                        </a:spcAft>
                        <a:buClr>
                          <a:schemeClr val="tx1"/>
                        </a:buClr>
                        <a:buFont typeface="Trebuchet MS" panose="020B0603020202020204" pitchFamily="34" charset="0"/>
                        <a:buNone/>
                      </a:pPr>
                      <a:r>
                        <a:rPr lang="en-US" sz="900" b="0" i="0" u="none" kern="1200" spc="0">
                          <a:solidFill>
                            <a:srgbClr val="000000"/>
                          </a:solidFill>
                          <a:latin typeface="Arial"/>
                          <a:ea typeface="+mn-ea"/>
                          <a:cs typeface="+mn-cs"/>
                        </a:rPr>
                        <a:t>Older IBM replicator used on for the mainframe as source and target.  Can not be used for the Snowflake and Reltio target.</a:t>
                      </a:r>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NA</a:t>
                      </a:r>
                      <a:endParaRPr lang="en-US" sz="900"/>
                    </a:p>
                  </a:txBody>
                  <a:tcPr marL="40500" marR="40500" marT="40500" marB="40500"/>
                </a:tc>
                <a:extLst>
                  <a:ext uri="{0D108BD9-81ED-4DB2-BD59-A6C34878D82A}">
                    <a16:rowId xmlns:a16="http://schemas.microsoft.com/office/drawing/2014/main" val="3220597560"/>
                  </a:ext>
                </a:extLst>
              </a:tr>
              <a:tr h="168524">
                <a:tc>
                  <a:txBody>
                    <a:bodyPr/>
                    <a:lstStyle/>
                    <a:p>
                      <a:pPr lvl="0" algn="l">
                        <a:buNone/>
                      </a:pPr>
                      <a:r>
                        <a:rPr lang="en-US" sz="900">
                          <a:solidFill>
                            <a:schemeClr val="tx1">
                              <a:lumMod val="50000"/>
                            </a:schemeClr>
                          </a:solidFill>
                        </a:rPr>
                        <a:t>7</a:t>
                      </a:r>
                    </a:p>
                  </a:txBody>
                  <a:tcPr marL="13500" marR="13500" marT="13500" marB="13500"/>
                </a:tc>
                <a:tc>
                  <a:txBody>
                    <a:bodyPr/>
                    <a:lstStyle/>
                    <a:p>
                      <a:pPr lvl="0" algn="l">
                        <a:buNone/>
                      </a:pPr>
                      <a:r>
                        <a:rPr lang="en-US" sz="900" b="1" i="0" u="none" kern="1200" spc="0">
                          <a:solidFill>
                            <a:srgbClr val="000000"/>
                          </a:solidFill>
                          <a:latin typeface="Arial"/>
                          <a:ea typeface="+mn-ea"/>
                          <a:cs typeface="+mn-cs"/>
                        </a:rPr>
                        <a:t>Oracle Golden Gate</a:t>
                      </a:r>
                      <a:endParaRPr lang="en-US" sz="900"/>
                    </a:p>
                  </a:txBody>
                  <a:tcPr marL="13500" marR="13500" marT="13500" marB="13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Capable of exchanging and replicating data at the transaction level among several heterogeneous platforms.</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1447178351"/>
                  </a:ext>
                </a:extLst>
              </a:tr>
              <a:tr h="288729">
                <a:tc>
                  <a:txBody>
                    <a:bodyPr/>
                    <a:lstStyle/>
                    <a:p>
                      <a:pPr algn="l"/>
                      <a:r>
                        <a:rPr lang="en-US" sz="900" b="1">
                          <a:solidFill>
                            <a:srgbClr val="000000"/>
                          </a:solidFill>
                        </a:rPr>
                        <a:t>8</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noProof="0">
                          <a:solidFill>
                            <a:srgbClr val="000000"/>
                          </a:solidFill>
                          <a:latin typeface="Arial"/>
                          <a:ea typeface="+mn-ea"/>
                          <a:cs typeface="+mn-cs"/>
                        </a:rPr>
                        <a:t>IBM DB2 Analytics   Accelerator (IDAA)</a:t>
                      </a:r>
                      <a:endParaRPr lang="en-US" sz="900"/>
                    </a:p>
                  </a:txBody>
                  <a:tcPr marL="40499" marR="40499" marT="40499" marB="40499"/>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High-speed analysis of your enterprise data for real-time insight under the control and security IBM Z</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NA</a:t>
                      </a:r>
                      <a:endParaRPr lang="en-US" sz="900"/>
                    </a:p>
                  </a:txBody>
                  <a:tcPr marL="40500" marR="40500" marT="40500" marB="40500"/>
                </a:tc>
                <a:extLst>
                  <a:ext uri="{0D108BD9-81ED-4DB2-BD59-A6C34878D82A}">
                    <a16:rowId xmlns:a16="http://schemas.microsoft.com/office/drawing/2014/main" val="2052426575"/>
                  </a:ext>
                </a:extLst>
              </a:tr>
              <a:tr h="0">
                <a:tc>
                  <a:txBody>
                    <a:bodyPr/>
                    <a:lstStyle/>
                    <a:p>
                      <a:pPr algn="l"/>
                      <a:r>
                        <a:rPr lang="en-US" sz="900" b="1">
                          <a:solidFill>
                            <a:srgbClr val="000000"/>
                          </a:solidFill>
                        </a:rPr>
                        <a:t>9</a:t>
                      </a:r>
                    </a:p>
                  </a:txBody>
                  <a:tcPr marL="13500" marR="13500" marT="13500" marB="13500"/>
                </a:tc>
                <a:tc>
                  <a:txBody>
                    <a:bodyPr/>
                    <a:lstStyle/>
                    <a:p>
                      <a:pPr lvl="0" algn="l" defTabSz="914400">
                        <a:buNone/>
                        <a:tabLst/>
                        <a:defRPr/>
                      </a:pPr>
                      <a:r>
                        <a:rPr lang="en-US" sz="900" b="1" i="0" u="none" kern="1200" spc="0">
                          <a:solidFill>
                            <a:srgbClr val="000000"/>
                          </a:solidFill>
                          <a:latin typeface="Arial"/>
                          <a:ea typeface="+mn-ea"/>
                          <a:cs typeface="+mn-cs"/>
                        </a:rPr>
                        <a:t>Talend</a:t>
                      </a:r>
                      <a:endParaRPr lang="en-US" sz="900"/>
                    </a:p>
                  </a:txBody>
                  <a:tcPr marL="40499" marR="40499" marT="40499" marB="40499"/>
                </a:tc>
                <a:tc>
                  <a:txBody>
                    <a:bodyPr/>
                    <a:lstStyle/>
                    <a:p>
                      <a:pPr marL="0" marR="0" lvl="1" indent="0" algn="l">
                        <a:lnSpc>
                          <a:spcPct val="100000"/>
                        </a:lnSpc>
                        <a:spcBef>
                          <a:spcPts val="0"/>
                        </a:spcBef>
                        <a:spcAft>
                          <a:spcPts val="0"/>
                        </a:spcAft>
                        <a:buNone/>
                      </a:pPr>
                      <a:r>
                        <a:rPr lang="en-US" sz="900" b="0" i="0" u="none" kern="1200" spc="0" noProof="0">
                          <a:solidFill>
                            <a:srgbClr val="000000"/>
                          </a:solidFill>
                          <a:latin typeface="Arial"/>
                          <a:ea typeface="+mn-ea"/>
                          <a:cs typeface="+mn-cs"/>
                        </a:rPr>
                        <a:t>CDC in Talend Data Integration is based on a publish/subscribe model. The publisher captures the data changes in real time and makes them available to subscribers.</a:t>
                      </a:r>
                      <a:endParaRPr lang="en-US" sz="900" b="0" i="0" u="none" kern="1200" spc="0">
                        <a:solidFill>
                          <a:srgbClr val="000000"/>
                        </a:solidFill>
                        <a:latin typeface="Arial"/>
                        <a:ea typeface="+mn-ea"/>
                        <a:cs typeface="+mn-cs"/>
                      </a:endParaRPr>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dirty="0">
                          <a:solidFill>
                            <a:srgbClr val="000000"/>
                          </a:solidFill>
                          <a:latin typeface="Arial"/>
                        </a:rPr>
                        <a:t>Supported</a:t>
                      </a:r>
                      <a:endParaRPr lang="en-US" sz="900" dirty="0"/>
                    </a:p>
                  </a:txBody>
                  <a:tcPr marL="40500" marR="40500" marT="40500" marB="40500"/>
                </a:tc>
                <a:extLst>
                  <a:ext uri="{0D108BD9-81ED-4DB2-BD59-A6C34878D82A}">
                    <a16:rowId xmlns:a16="http://schemas.microsoft.com/office/drawing/2014/main" val="813078411"/>
                  </a:ext>
                </a:extLst>
              </a:tr>
            </a:tbl>
          </a:graphicData>
        </a:graphic>
      </p:graphicFrame>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45391"/>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a:t>
            </a:r>
          </a:p>
        </p:txBody>
      </p:sp>
    </p:spTree>
    <p:extLst>
      <p:ext uri="{BB962C8B-B14F-4D97-AF65-F5344CB8AC3E}">
        <p14:creationId xmlns:p14="http://schemas.microsoft.com/office/powerpoint/2010/main" val="1324954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F9CB65-45DF-7243-AB36-9EB53127C0EA}"/>
              </a:ext>
            </a:extLst>
          </p:cNvPr>
          <p:cNvSpPr/>
          <p:nvPr/>
        </p:nvSpPr>
        <p:spPr>
          <a:xfrm>
            <a:off x="76540" y="453478"/>
            <a:ext cx="7537609" cy="1661993"/>
          </a:xfrm>
          <a:prstGeom prst="rect">
            <a:avLst/>
          </a:prstGeom>
        </p:spPr>
        <p:txBody>
          <a:bodyPr wrap="square" lIns="91440" tIns="45720" rIns="91440" bIns="45720" anchor="t">
            <a:spAutoFit/>
          </a:bodyPr>
          <a:lstStyle/>
          <a:p>
            <a:pPr marL="257175" fontAlgn="ctr"/>
            <a:r>
              <a:rPr lang="en-US" sz="900">
                <a:solidFill>
                  <a:srgbClr val="000000"/>
                </a:solidFill>
                <a:latin typeface="Calibri" panose="020F0502020204030204" pitchFamily="34" charset="0"/>
              </a:rPr>
              <a:t>HVR:</a:t>
            </a:r>
          </a:p>
          <a:p>
            <a:pPr marL="428625" indent="-171450" fontAlgn="ctr">
              <a:buFont typeface="Arial"/>
              <a:buChar char="•"/>
            </a:pPr>
            <a:r>
              <a:rPr lang="en-US" sz="900" b="0">
                <a:solidFill>
                  <a:srgbClr val="000000"/>
                </a:solidFill>
                <a:latin typeface="Calibri"/>
                <a:cs typeface="Calibri"/>
              </a:rPr>
              <a:t>Replicating the data from one source to another. It is constantly running, and we do nothing other than looking at monitoring reports. Once it is established, it is pretty much hands-off.</a:t>
            </a:r>
          </a:p>
          <a:p>
            <a:pPr marL="428625" indent="-171450" fontAlgn="ctr">
              <a:buFont typeface="Arial"/>
              <a:buChar char="•"/>
            </a:pPr>
            <a:r>
              <a:rPr lang="en-US" sz="900" b="0">
                <a:solidFill>
                  <a:srgbClr val="000000"/>
                </a:solidFill>
                <a:latin typeface="Calibri"/>
                <a:cs typeface="Calibri"/>
              </a:rPr>
              <a:t>It is CDC and we take data from an OLTP system to populate a data warehouse and to populate a reporting system.</a:t>
            </a:r>
          </a:p>
          <a:p>
            <a:pPr marL="428625" indent="-171450" fontAlgn="ctr">
              <a:buFont typeface="Arial"/>
              <a:buChar char="•"/>
            </a:pPr>
            <a:r>
              <a:rPr lang="en-US" sz="900" b="0">
                <a:solidFill>
                  <a:srgbClr val="000000"/>
                </a:solidFill>
                <a:latin typeface="Calibri"/>
                <a:cs typeface="Calibri"/>
              </a:rPr>
              <a:t>Support log-based CDC for all supported relational database sources.</a:t>
            </a:r>
          </a:p>
          <a:p>
            <a:pPr marL="428625" indent="-171450" fontAlgn="ctr">
              <a:buFont typeface="Arial"/>
              <a:buChar char="•"/>
            </a:pPr>
            <a:r>
              <a:rPr lang="en-US" sz="900" b="0">
                <a:solidFill>
                  <a:srgbClr val="000000"/>
                </a:solidFill>
                <a:latin typeface="Calibri"/>
                <a:cs typeface="Calibri"/>
              </a:rPr>
              <a:t>Some features don't work as advertised for the platform/repository database, and HVR is not always the fastest at getting results.</a:t>
            </a:r>
          </a:p>
          <a:p>
            <a:pPr marL="257175"/>
            <a:endParaRPr lang="en-US" sz="900" b="0">
              <a:solidFill>
                <a:schemeClr val="tx1"/>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endParaRPr lang="en-US" sz="900">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4C1DCD9B-7BBE-0E40-9783-64251E3FF7FC}"/>
              </a:ext>
            </a:extLst>
          </p:cNvPr>
          <p:cNvSpPr/>
          <p:nvPr/>
        </p:nvSpPr>
        <p:spPr>
          <a:xfrm>
            <a:off x="0" y="3068497"/>
            <a:ext cx="8237220" cy="446276"/>
          </a:xfrm>
          <a:prstGeom prst="rect">
            <a:avLst/>
          </a:prstGeom>
        </p:spPr>
        <p:txBody>
          <a:bodyPr wrap="square" lIns="91440" tIns="45720" rIns="91440" bIns="45720" anchor="t">
            <a:spAutoFit/>
          </a:bodyPr>
          <a:lstStyle/>
          <a:p>
            <a:pPr marL="257175"/>
            <a:endParaRPr lang="en-US" sz="900">
              <a:solidFill>
                <a:srgbClr val="000000"/>
              </a:solidFill>
              <a:latin typeface="Calibri"/>
              <a:cs typeface="Calibri"/>
            </a:endParaRPr>
          </a:p>
          <a:p>
            <a:pPr marL="556895" lvl="1" indent="-213995" fontAlgn="ctr">
              <a:buFont typeface="Arial" panose="020B0604020202020204" pitchFamily="34" charset="0"/>
              <a:buChar char="•"/>
            </a:pPr>
            <a:endParaRPr lang="en-US" sz="900">
              <a:solidFill>
                <a:srgbClr val="000000"/>
              </a:solidFill>
              <a:latin typeface="Calibri" panose="020F0502020204030204" pitchFamily="34" charset="0"/>
              <a:cs typeface="Calibri"/>
            </a:endParaRPr>
          </a:p>
        </p:txBody>
      </p:sp>
      <p:sp>
        <p:nvSpPr>
          <p:cNvPr id="7" name="Rectangle 6">
            <a:extLst>
              <a:ext uri="{FF2B5EF4-FFF2-40B4-BE49-F238E27FC236}">
                <a16:creationId xmlns:a16="http://schemas.microsoft.com/office/drawing/2014/main" id="{CBD9E884-6EB9-A84A-98F5-4EF318028BEF}"/>
              </a:ext>
            </a:extLst>
          </p:cNvPr>
          <p:cNvSpPr/>
          <p:nvPr/>
        </p:nvSpPr>
        <p:spPr>
          <a:xfrm>
            <a:off x="142875" y="3293460"/>
            <a:ext cx="7442564" cy="1231106"/>
          </a:xfrm>
          <a:prstGeom prst="rect">
            <a:avLst/>
          </a:prstGeom>
        </p:spPr>
        <p:txBody>
          <a:bodyPr wrap="square" lIns="91440" tIns="45720" rIns="91440" bIns="45720" anchor="t">
            <a:spAutoFit/>
          </a:bodyPr>
          <a:lstStyle/>
          <a:p>
            <a:pPr marL="257175" fontAlgn="ctr"/>
            <a:endParaRPr lang="en-US" sz="900">
              <a:solidFill>
                <a:srgbClr val="000000"/>
              </a:solidFill>
              <a:latin typeface="Calibri" panose="020F0502020204030204" pitchFamily="34" charset="0"/>
            </a:endParaRPr>
          </a:p>
          <a:p>
            <a:pPr marL="257175" fontAlgn="ctr"/>
            <a:r>
              <a:rPr lang="en-US" sz="900">
                <a:solidFill>
                  <a:srgbClr val="000000"/>
                </a:solidFill>
                <a:latin typeface="Calibri"/>
                <a:cs typeface="Calibri"/>
              </a:rPr>
              <a:t>Talend:</a:t>
            </a:r>
          </a:p>
          <a:p>
            <a:pPr marL="428625" lvl="1" indent="-171450" fontAlgn="ctr">
              <a:buFont typeface="Arial"/>
              <a:buChar char="•"/>
            </a:pPr>
            <a:r>
              <a:rPr lang="en-US" sz="900">
                <a:solidFill>
                  <a:srgbClr val="000000"/>
                </a:solidFill>
                <a:latin typeface="Calibri"/>
                <a:cs typeface="Calibri"/>
              </a:rPr>
              <a:t>It can connect with different databases such as Oracle Database or SQL Server. It allows you to extract the data from one database to another. I can structure the data by filtering and mapping the fields.</a:t>
            </a:r>
          </a:p>
          <a:p>
            <a:pPr marL="428625" lvl="1" indent="-171450">
              <a:buFont typeface="Arial"/>
              <a:buChar char="•"/>
            </a:pPr>
            <a:r>
              <a:rPr lang="en-US" sz="900">
                <a:solidFill>
                  <a:srgbClr val="000000"/>
                </a:solidFill>
                <a:latin typeface="Calibri"/>
                <a:cs typeface="Calibri"/>
              </a:rPr>
              <a:t>It is a data integration tool!</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endParaRPr lang="en-US" sz="900">
              <a:solidFill>
                <a:srgbClr val="000000"/>
              </a:solidFill>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104C0446-AAB9-4616-8F21-B598BA0CF975}"/>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 Details</a:t>
            </a:r>
          </a:p>
        </p:txBody>
      </p:sp>
      <p:sp>
        <p:nvSpPr>
          <p:cNvPr id="2" name="TextBox 1">
            <a:extLst>
              <a:ext uri="{FF2B5EF4-FFF2-40B4-BE49-F238E27FC236}">
                <a16:creationId xmlns:a16="http://schemas.microsoft.com/office/drawing/2014/main" id="{84EA2C09-14FF-4706-AD5A-FA90AB2AFBA3}"/>
              </a:ext>
            </a:extLst>
          </p:cNvPr>
          <p:cNvSpPr txBox="1"/>
          <p:nvPr/>
        </p:nvSpPr>
        <p:spPr bwMode="auto">
          <a:xfrm>
            <a:off x="378619" y="1904320"/>
            <a:ext cx="7407047"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900">
                <a:solidFill>
                  <a:schemeClr val="tx1"/>
                </a:solidFill>
                <a:latin typeface="Calibri"/>
                <a:cs typeface="Arial"/>
              </a:rPr>
              <a:t>Qlik (Attunity) Replicate:​</a:t>
            </a:r>
          </a:p>
          <a:p>
            <a:pPr marL="171450" lvl="1" indent="-171450">
              <a:buFont typeface="Arial"/>
              <a:buChar char="•"/>
            </a:pPr>
            <a:r>
              <a:rPr lang="en-US" sz="900">
                <a:latin typeface="Calibri"/>
                <a:cs typeface="Arial"/>
              </a:rPr>
              <a:t>Qlik Replicate (formerly Attunity Replicate) is a high-performance universal data replication platform that is easy to use and offers quick time to value and substantial cost savings when compared to other tools.​</a:t>
            </a:r>
          </a:p>
          <a:p>
            <a:pPr marL="171450" lvl="1" indent="-171450">
              <a:buFont typeface="Arial"/>
              <a:buChar char="•"/>
            </a:pPr>
            <a:r>
              <a:rPr lang="en-US" sz="900">
                <a:latin typeface="Calibri"/>
                <a:cs typeface="Arial"/>
              </a:rPr>
              <a:t>Supports snapshot and real-time or </a:t>
            </a:r>
            <a:r>
              <a:rPr lang="en-US" sz="900">
                <a:solidFill>
                  <a:srgbClr val="00B050"/>
                </a:solidFill>
                <a:latin typeface="Calibri"/>
                <a:cs typeface="Arial"/>
              </a:rPr>
              <a:t>batch-optimized transactional replication</a:t>
            </a:r>
            <a:r>
              <a:rPr lang="en-US" sz="900">
                <a:latin typeface="Calibri"/>
                <a:cs typeface="Arial"/>
              </a:rPr>
              <a:t>, leveraging log-based change data capture, or </a:t>
            </a:r>
            <a:r>
              <a:rPr lang="en-US" sz="900">
                <a:solidFill>
                  <a:srgbClr val="96D7EB"/>
                </a:solidFill>
                <a:latin typeface="Calibri"/>
                <a:cs typeface="Arial"/>
                <a:hlinkClick r:id="rId2"/>
              </a:rPr>
              <a:t>CDC for database</a:t>
            </a:r>
            <a:r>
              <a:rPr lang="en-US" sz="900">
                <a:latin typeface="Calibri"/>
                <a:cs typeface="Arial"/>
              </a:rPr>
              <a:t> replication technology​</a:t>
            </a:r>
          </a:p>
          <a:p>
            <a:pPr marL="171450" lvl="1" indent="-171450">
              <a:buFont typeface="Arial"/>
              <a:buChar char="•"/>
            </a:pPr>
            <a:r>
              <a:rPr lang="en-US" sz="900">
                <a:latin typeface="Calibri"/>
                <a:cs typeface="Arial"/>
              </a:rPr>
              <a:t>It's more ELT which is one of the advantages. It is also in near real-time, which brings significant advantage for our embedded analytics approach."​</a:t>
            </a:r>
            <a:endParaRPr lang="en-US" sz="900">
              <a:solidFill>
                <a:schemeClr val="tx1"/>
              </a:solidFill>
              <a:latin typeface="Calibri"/>
              <a:cs typeface="Arial"/>
            </a:endParaRPr>
          </a:p>
        </p:txBody>
      </p:sp>
    </p:spTree>
    <p:extLst>
      <p:ext uri="{BB962C8B-B14F-4D97-AF65-F5344CB8AC3E}">
        <p14:creationId xmlns:p14="http://schemas.microsoft.com/office/powerpoint/2010/main" val="1493052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59B29ED-FC4B-AE4D-A9AC-E90FF2AA7699}"/>
              </a:ext>
            </a:extLst>
          </p:cNvPr>
          <p:cNvSpPr/>
          <p:nvPr/>
        </p:nvSpPr>
        <p:spPr>
          <a:xfrm>
            <a:off x="0" y="507036"/>
            <a:ext cx="7054596" cy="1292662"/>
          </a:xfrm>
          <a:prstGeom prst="rect">
            <a:avLst/>
          </a:prstGeom>
        </p:spPr>
        <p:txBody>
          <a:bodyPr wrap="square" lIns="91440" tIns="45720" rIns="91440" bIns="45720" anchor="t">
            <a:spAutoFit/>
          </a:bodyPr>
          <a:lstStyle/>
          <a:p>
            <a:pPr marL="257175" fontAlgn="ctr"/>
            <a:r>
              <a:rPr lang="en-US" sz="900">
                <a:solidFill>
                  <a:srgbClr val="000000"/>
                </a:solidFill>
                <a:latin typeface="Calibri" panose="020F0502020204030204" pitchFamily="34" charset="0"/>
              </a:rPr>
              <a:t>Kafka Connector:</a:t>
            </a:r>
            <a:endParaRPr lang="en-US" sz="825">
              <a:solidFill>
                <a:srgbClr val="000000"/>
              </a:solidFill>
              <a:latin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You can replicate from any supported CDC Replication source to a Kafka cluster by using the CDC Replication Engine for Kafka. This engine writes Kafka messages that contain the replicated data to Kafka topics.</a:t>
            </a:r>
            <a:endParaRPr lang="en-US" sz="825">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a:cs typeface="Calibri"/>
              </a:rPr>
              <a:t>CDC Replication has two methods for writing to the Kafka topics: a Java API and a REST server protocol. When using the Java™ API, Kafka consumers read the Kafka topics that are populated by CDC Replication using a de-serializer that is compatible with the CDC Avro </a:t>
            </a:r>
            <a:r>
              <a:rPr lang="en-US" sz="900">
                <a:solidFill>
                  <a:schemeClr val="tx1">
                    <a:lumMod val="50000"/>
                  </a:schemeClr>
                </a:solidFill>
                <a:latin typeface="Calibri"/>
                <a:cs typeface="Calibri"/>
              </a:rPr>
              <a:t>binary format</a:t>
            </a:r>
            <a:endParaRPr lang="en-US" sz="800">
              <a:solidFill>
                <a:schemeClr val="tx1">
                  <a:lumMod val="50000"/>
                </a:schemeClr>
              </a:solidFill>
              <a:latin typeface="Calibri"/>
              <a:cs typeface="Calibri"/>
            </a:endParaRPr>
          </a:p>
          <a:p>
            <a:pPr marL="556895" lvl="1" indent="-213995" fontAlgn="ctr">
              <a:buFont typeface="Arial" panose="020B0604020202020204" pitchFamily="34" charset="0"/>
              <a:buChar char="•"/>
            </a:pPr>
            <a:r>
              <a:rPr lang="en-US" sz="900">
                <a:solidFill>
                  <a:schemeClr val="tx1">
                    <a:lumMod val="50000"/>
                  </a:schemeClr>
                </a:solidFill>
                <a:latin typeface="Calibri"/>
                <a:cs typeface="Calibri"/>
              </a:rPr>
              <a:t>Cost MIPS and stability concerns</a:t>
            </a:r>
            <a:endParaRPr lang="en-US" sz="825">
              <a:solidFill>
                <a:schemeClr val="tx1">
                  <a:lumMod val="50000"/>
                </a:schemeClr>
              </a:solidFill>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523863A0-F571-9345-A054-56E3D9DF7DE6}"/>
              </a:ext>
            </a:extLst>
          </p:cNvPr>
          <p:cNvSpPr/>
          <p:nvPr/>
        </p:nvSpPr>
        <p:spPr>
          <a:xfrm>
            <a:off x="0" y="2806430"/>
            <a:ext cx="7054596" cy="230832"/>
          </a:xfrm>
          <a:prstGeom prst="rect">
            <a:avLst/>
          </a:prstGeom>
        </p:spPr>
        <p:txBody>
          <a:bodyPr wrap="square" lIns="91440" tIns="45720" rIns="91440" bIns="45720" anchor="t">
            <a:spAutoFit/>
          </a:bodyPr>
          <a:lstStyle/>
          <a:p>
            <a:pPr marL="257175" fontAlgn="ctr"/>
            <a:endParaRPr lang="en-US" sz="900">
              <a:solidFill>
                <a:srgbClr val="000000"/>
              </a:solidFill>
              <a:latin typeface="Calibri" panose="020F0502020204030204" pitchFamily="34" charset="0"/>
              <a:cs typeface="Calibri"/>
            </a:endParaRPr>
          </a:p>
        </p:txBody>
      </p:sp>
      <p:sp>
        <p:nvSpPr>
          <p:cNvPr id="6" name="Rectangle 5">
            <a:extLst>
              <a:ext uri="{FF2B5EF4-FFF2-40B4-BE49-F238E27FC236}">
                <a16:creationId xmlns:a16="http://schemas.microsoft.com/office/drawing/2014/main" id="{67553BEB-BDF3-EE41-A550-B7F9C0BA134E}"/>
              </a:ext>
            </a:extLst>
          </p:cNvPr>
          <p:cNvSpPr/>
          <p:nvPr/>
        </p:nvSpPr>
        <p:spPr>
          <a:xfrm>
            <a:off x="3363" y="1982566"/>
            <a:ext cx="7185641" cy="1015663"/>
          </a:xfrm>
          <a:prstGeom prst="rect">
            <a:avLst/>
          </a:prstGeom>
        </p:spPr>
        <p:txBody>
          <a:bodyPr wrap="square" lIns="91440" tIns="45720" rIns="91440" bIns="45720" anchor="t">
            <a:spAutoFit/>
          </a:bodyPr>
          <a:lstStyle/>
          <a:p>
            <a:pPr marL="257175" fontAlgn="ctr"/>
            <a:r>
              <a:rPr lang="en-US" sz="900">
                <a:solidFill>
                  <a:srgbClr val="000000"/>
                </a:solidFill>
                <a:latin typeface="Calibri" panose="020F0502020204030204" pitchFamily="34" charset="0"/>
              </a:rPr>
              <a:t>Oracle Golden Gate:</a:t>
            </a:r>
            <a:endParaRPr lang="en-US" sz="825">
              <a:solidFill>
                <a:srgbClr val="000000"/>
              </a:solidFill>
              <a:latin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a:cs typeface="Calibri"/>
              </a:rPr>
              <a:t>It is a software that can replicate data from one database to another. It is capable of exchanging and manipulating data at the transaction level among several heterogeneous platforms. It runs on the operating system and is independent of the database.</a:t>
            </a:r>
          </a:p>
          <a:p>
            <a:pPr marL="556895" lvl="1" indent="-213995" fontAlgn="ctr">
              <a:buFont typeface="Arial" panose="020B0604020202020204" pitchFamily="34" charset="0"/>
              <a:buChar char="•"/>
            </a:pPr>
            <a:r>
              <a:rPr lang="en-US" sz="900" dirty="0">
                <a:solidFill>
                  <a:schemeClr val="tx1">
                    <a:lumMod val="50000"/>
                  </a:schemeClr>
                </a:solidFill>
                <a:latin typeface="Calibri"/>
                <a:cs typeface="Calibri"/>
                <a:hlinkClick r:id="rId2">
                  <a:extLst>
                    <a:ext uri="{A12FA001-AC4F-418D-AE19-62706E023703}">
                      <ahyp:hlinkClr xmlns:ahyp="http://schemas.microsoft.com/office/drawing/2018/hyperlinkcolor" val="tx"/>
                    </a:ext>
                  </a:extLst>
                </a:hlinkClick>
              </a:rPr>
              <a:t>Oracle CDC</a:t>
            </a:r>
            <a:r>
              <a:rPr lang="en-US" sz="900">
                <a:solidFill>
                  <a:schemeClr val="tx1">
                    <a:lumMod val="50000"/>
                  </a:schemeClr>
                </a:solidFill>
                <a:latin typeface="Calibri"/>
                <a:cs typeface="Calibri"/>
              </a:rPr>
              <a:t> replication with zero impact on source</a:t>
            </a:r>
          </a:p>
          <a:p>
            <a:pPr marL="556895" lvl="1" indent="-213995" fontAlgn="ctr">
              <a:buFont typeface="Arial" panose="020B0604020202020204" pitchFamily="34" charset="0"/>
              <a:buChar char="•"/>
            </a:pPr>
            <a:r>
              <a:rPr lang="en-US" sz="900">
                <a:solidFill>
                  <a:schemeClr val="tx1">
                    <a:lumMod val="50000"/>
                  </a:schemeClr>
                </a:solidFill>
                <a:latin typeface="Calibri"/>
                <a:cs typeface="Calibri"/>
              </a:rPr>
              <a:t>High Cost</a:t>
            </a:r>
            <a:endParaRPr lang="en-US" sz="825">
              <a:solidFill>
                <a:schemeClr val="tx1">
                  <a:lumMod val="50000"/>
                </a:schemeClr>
              </a:solidFill>
              <a:latin typeface="Calibri"/>
              <a:cs typeface="Calibri"/>
            </a:endParaRPr>
          </a:p>
        </p:txBody>
      </p:sp>
      <p:sp>
        <p:nvSpPr>
          <p:cNvPr id="7" name="Rectangle 6">
            <a:extLst>
              <a:ext uri="{FF2B5EF4-FFF2-40B4-BE49-F238E27FC236}">
                <a16:creationId xmlns:a16="http://schemas.microsoft.com/office/drawing/2014/main" id="{C8075C54-12FF-3443-9874-1786FEC1E849}"/>
              </a:ext>
            </a:extLst>
          </p:cNvPr>
          <p:cNvSpPr/>
          <p:nvPr/>
        </p:nvSpPr>
        <p:spPr>
          <a:xfrm>
            <a:off x="1512" y="2974078"/>
            <a:ext cx="7078598" cy="1296509"/>
          </a:xfrm>
          <a:prstGeom prst="rect">
            <a:avLst/>
          </a:prstGeom>
        </p:spPr>
        <p:txBody>
          <a:bodyPr wrap="square" lIns="91440" tIns="45720" rIns="91440" bIns="45720" anchor="t">
            <a:spAutoFit/>
          </a:bodyPr>
          <a:lstStyle/>
          <a:p>
            <a:pPr marL="257175" fontAlgn="ctr"/>
            <a:endParaRPr lang="en-US" sz="900">
              <a:solidFill>
                <a:srgbClr val="000000"/>
              </a:solidFill>
              <a:latin typeface="Calibri"/>
              <a:cs typeface="Calibri"/>
            </a:endParaRPr>
          </a:p>
          <a:p>
            <a:pPr marL="257175"/>
            <a:r>
              <a:rPr lang="en-US" sz="900" err="1">
                <a:solidFill>
                  <a:srgbClr val="000000"/>
                </a:solidFill>
                <a:latin typeface="Calibri"/>
                <a:cs typeface="Calibri"/>
              </a:rPr>
              <a:t>Equalum</a:t>
            </a:r>
            <a:r>
              <a:rPr lang="en-US" sz="900">
                <a:solidFill>
                  <a:srgbClr val="000000"/>
                </a:solidFill>
                <a:latin typeface="Calibri"/>
                <a:cs typeface="Calibri"/>
              </a:rPr>
              <a:t>:</a:t>
            </a:r>
            <a:endParaRPr lang="en-US" sz="800">
              <a:solidFill>
                <a:srgbClr val="000000"/>
              </a:solidFill>
              <a:latin typeface="Calibri"/>
              <a:cs typeface="Calibri"/>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Powerful data integration, migration, and replication tool.</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Equalum provides a single platform for core architectural use cases, including CDC replication, streaming ETL, and batch ETL.</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Reasonably priced</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800">
                <a:solidFill>
                  <a:schemeClr val="tx1">
                    <a:lumMod val="50000"/>
                  </a:schemeClr>
                </a:solidFill>
                <a:latin typeface="Calibri"/>
                <a:cs typeface="Calibri"/>
              </a:rPr>
              <a:t>It doesn't work with a typical Git branching and CI/CD deployment strategy</a:t>
            </a:r>
          </a:p>
        </p:txBody>
      </p:sp>
      <p:sp>
        <p:nvSpPr>
          <p:cNvPr id="8" name="Title 1">
            <a:extLst>
              <a:ext uri="{FF2B5EF4-FFF2-40B4-BE49-F238E27FC236}">
                <a16:creationId xmlns:a16="http://schemas.microsoft.com/office/drawing/2014/main" id="{C0085F0C-9719-4304-B4CA-820EA49E0DCE}"/>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 Details</a:t>
            </a:r>
          </a:p>
        </p:txBody>
      </p:sp>
    </p:spTree>
    <p:extLst>
      <p:ext uri="{BB962C8B-B14F-4D97-AF65-F5344CB8AC3E}">
        <p14:creationId xmlns:p14="http://schemas.microsoft.com/office/powerpoint/2010/main" val="1534130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F9CB65-45DF-7243-AB36-9EB53127C0EA}"/>
              </a:ext>
            </a:extLst>
          </p:cNvPr>
          <p:cNvSpPr/>
          <p:nvPr/>
        </p:nvSpPr>
        <p:spPr>
          <a:xfrm>
            <a:off x="0" y="534894"/>
            <a:ext cx="7787640" cy="938719"/>
          </a:xfrm>
          <a:prstGeom prst="rect">
            <a:avLst/>
          </a:prstGeom>
        </p:spPr>
        <p:txBody>
          <a:bodyPr wrap="square">
            <a:spAutoFit/>
          </a:bodyPr>
          <a:lstStyle/>
          <a:p>
            <a:pPr marL="257175" fontAlgn="ctr"/>
            <a:r>
              <a:rPr lang="en-US" sz="900" dirty="0">
                <a:solidFill>
                  <a:srgbClr val="000000"/>
                </a:solidFill>
                <a:latin typeface="Calibri" panose="020F0502020204030204" pitchFamily="34" charset="0"/>
              </a:rPr>
              <a:t>CDC Replication:</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CDC provides low-impact capture and fast delivery of data changes for key information management initiatives including dynamic data warehousing, master data management, application consolidations or migrations, operational BI, and enabling SOA projects. </a:t>
            </a: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CDC also helps reduce processing overhead and network traffic by sending only the data that has changed. You can perform replication either continuously or periodically. When data is transferred from a source server, it can be remapped or transformed in the target environment. </a:t>
            </a:r>
            <a:endParaRPr lang="en-US" sz="825" dirty="0">
              <a:latin typeface="Calibri" panose="020F0502020204030204" pitchFamily="34" charset="0"/>
            </a:endParaRPr>
          </a:p>
        </p:txBody>
      </p:sp>
      <p:sp>
        <p:nvSpPr>
          <p:cNvPr id="6" name="Rectangle 5">
            <a:extLst>
              <a:ext uri="{FF2B5EF4-FFF2-40B4-BE49-F238E27FC236}">
                <a16:creationId xmlns:a16="http://schemas.microsoft.com/office/drawing/2014/main" id="{4C1DCD9B-7BBE-0E40-9783-64251E3FF7FC}"/>
              </a:ext>
            </a:extLst>
          </p:cNvPr>
          <p:cNvSpPr/>
          <p:nvPr/>
        </p:nvSpPr>
        <p:spPr>
          <a:xfrm>
            <a:off x="0" y="3068497"/>
            <a:ext cx="8237220" cy="1231106"/>
          </a:xfrm>
          <a:prstGeom prst="rect">
            <a:avLst/>
          </a:prstGeom>
        </p:spPr>
        <p:txBody>
          <a:bodyPr wrap="square">
            <a:spAutoFit/>
          </a:bodyPr>
          <a:lstStyle/>
          <a:p>
            <a:pPr marL="257175" fontAlgn="ctr"/>
            <a:r>
              <a:rPr lang="en-US" sz="900" dirty="0">
                <a:solidFill>
                  <a:srgbClr val="000000"/>
                </a:solidFill>
                <a:latin typeface="Calibri" panose="020F0502020204030204" pitchFamily="34" charset="0"/>
              </a:rPr>
              <a:t>IBM Data Replication for Db2 for z/OS remote source (IDR):</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IBM released Db2 for z/OS Remote Capture as a new solution, although it’s really CDC with a new deployment model – and pricing model.</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The deployment model allows you to </a:t>
            </a:r>
            <a:r>
              <a:rPr lang="en-US" sz="900" dirty="0">
                <a:solidFill>
                  <a:srgbClr val="00B050"/>
                </a:solidFill>
                <a:latin typeface="Calibri" panose="020F0502020204030204" pitchFamily="34" charset="0"/>
              </a:rPr>
              <a:t>run the replication engine off the mainframe</a:t>
            </a:r>
            <a:r>
              <a:rPr lang="en-US" sz="900" dirty="0">
                <a:solidFill>
                  <a:srgbClr val="000000"/>
                </a:solidFill>
                <a:latin typeface="Calibri" panose="020F0502020204030204" pitchFamily="34" charset="0"/>
              </a:rPr>
              <a:t>, which reduces MIPs and also allows you to do the replication monitoring and administration off the mainframe (which may mean it’s easier to get new support folks trained, etc.)</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The licensing model is based on the volume of data in Db2 for z/OS – but also supports unlimited targets, at no charge.</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Db2 for z/OS versions 11 and 12</a:t>
            </a:r>
            <a:endParaRPr lang="en-US" sz="825" dirty="0">
              <a:solidFill>
                <a:srgbClr val="000000"/>
              </a:solidFill>
              <a:latin typeface="Calibri" panose="020F0502020204030204" pitchFamily="34" charset="0"/>
            </a:endParaRPr>
          </a:p>
        </p:txBody>
      </p:sp>
      <p:sp>
        <p:nvSpPr>
          <p:cNvPr id="7" name="Rectangle 6">
            <a:extLst>
              <a:ext uri="{FF2B5EF4-FFF2-40B4-BE49-F238E27FC236}">
                <a16:creationId xmlns:a16="http://schemas.microsoft.com/office/drawing/2014/main" id="{CBD9E884-6EB9-A84A-98F5-4EF318028BEF}"/>
              </a:ext>
            </a:extLst>
          </p:cNvPr>
          <p:cNvSpPr/>
          <p:nvPr/>
        </p:nvSpPr>
        <p:spPr>
          <a:xfrm>
            <a:off x="0" y="1655502"/>
            <a:ext cx="7932420" cy="1231106"/>
          </a:xfrm>
          <a:prstGeom prst="rect">
            <a:avLst/>
          </a:prstGeom>
        </p:spPr>
        <p:txBody>
          <a:bodyPr wrap="square" lIns="91440" tIns="45720" rIns="91440" bIns="45720" anchor="t">
            <a:spAutoFit/>
          </a:bodyPr>
          <a:lstStyle/>
          <a:p>
            <a:pPr marL="257175" fontAlgn="ctr"/>
            <a:r>
              <a:rPr lang="en-US" sz="900" dirty="0">
                <a:solidFill>
                  <a:srgbClr val="000000"/>
                </a:solidFill>
                <a:latin typeface="Calibri" panose="020F0502020204030204" pitchFamily="34" charset="0"/>
              </a:rPr>
              <a:t>IBM DB2 Analytics Accelerator (IDAA):</a:t>
            </a:r>
            <a:endParaRPr lang="en-US" sz="825" dirty="0">
              <a:solidFill>
                <a:srgbClr val="000000"/>
              </a:solidFill>
              <a:latin typeface="Calibri" panose="020F0502020204030204" pitchFamily="34" charset="0"/>
            </a:endParaRPr>
          </a:p>
          <a:p>
            <a:pPr marL="556895" lvl="1" indent="-213995" fontAlgn="ctr">
              <a:buFont typeface="Arial" panose="020B0604020202020204" pitchFamily="34" charset="0"/>
              <a:buChar char="•"/>
            </a:pPr>
            <a:r>
              <a:rPr lang="en-US" sz="900" dirty="0">
                <a:solidFill>
                  <a:srgbClr val="000000"/>
                </a:solidFill>
                <a:latin typeface="Calibri" panose="020F0502020204030204" pitchFamily="34" charset="0"/>
              </a:rPr>
              <a:t>High-speed analysis of your enterprise data for real-time insight under the control and security of IBM Z</a:t>
            </a:r>
            <a:endParaRPr lang="en-US" sz="825" dirty="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dirty="0">
                <a:solidFill>
                  <a:srgbClr val="000000"/>
                </a:solidFill>
                <a:latin typeface="Calibri" panose="020F0502020204030204" pitchFamily="34" charset="0"/>
              </a:rPr>
              <a:t>Db2 Analytics Accelerator on Z is the product feature that runs entirely on a mainframe computer. Unlike IBM® Db2 Analytics Accelerator on an IBM Integrated Analytics System, it does not require external hardware.</a:t>
            </a:r>
            <a:endParaRPr lang="en-US" sz="825" dirty="0">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dirty="0">
                <a:solidFill>
                  <a:schemeClr val="tx1">
                    <a:lumMod val="50000"/>
                  </a:schemeClr>
                </a:solidFill>
                <a:latin typeface="Calibri"/>
                <a:cs typeface="Calibri"/>
              </a:rPr>
              <a:t>Reduces data movement</a:t>
            </a:r>
          </a:p>
          <a:p>
            <a:pPr marL="556895" lvl="1" indent="-213995" fontAlgn="ctr">
              <a:buFont typeface="Arial" panose="020B0604020202020204" pitchFamily="34" charset="0"/>
              <a:buChar char="•"/>
            </a:pPr>
            <a:r>
              <a:rPr lang="en-US" sz="900" dirty="0">
                <a:solidFill>
                  <a:schemeClr val="tx1">
                    <a:lumMod val="50000"/>
                  </a:schemeClr>
                </a:solidFill>
                <a:latin typeface="Calibri"/>
                <a:cs typeface="Calibri"/>
              </a:rPr>
              <a:t>No physical replication is made, queries are performed on the existing DB2 instance</a:t>
            </a:r>
            <a:endParaRPr lang="en-US" sz="825" dirty="0">
              <a:solidFill>
                <a:schemeClr val="tx1">
                  <a:lumMod val="50000"/>
                </a:schemeClr>
              </a:solidFill>
              <a:latin typeface="Calibri"/>
              <a:cs typeface="Calibri"/>
            </a:endParaRPr>
          </a:p>
        </p:txBody>
      </p:sp>
      <p:sp>
        <p:nvSpPr>
          <p:cNvPr id="8" name="Title 1">
            <a:extLst>
              <a:ext uri="{FF2B5EF4-FFF2-40B4-BE49-F238E27FC236}">
                <a16:creationId xmlns:a16="http://schemas.microsoft.com/office/drawing/2014/main" id="{104C0446-AAB9-4616-8F21-B598BA0CF975}"/>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CDC Option Details</a:t>
            </a:r>
          </a:p>
        </p:txBody>
      </p:sp>
    </p:spTree>
    <p:extLst>
      <p:ext uri="{BB962C8B-B14F-4D97-AF65-F5344CB8AC3E}">
        <p14:creationId xmlns:p14="http://schemas.microsoft.com/office/powerpoint/2010/main" val="1537602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3844556-A29A-0A4B-B7CD-0360A9EA1EB5}"/>
              </a:ext>
            </a:extLst>
          </p:cNvPr>
          <p:cNvSpPr/>
          <p:nvPr/>
        </p:nvSpPr>
        <p:spPr>
          <a:xfrm>
            <a:off x="108102" y="401143"/>
            <a:ext cx="8927796" cy="553998"/>
          </a:xfrm>
          <a:prstGeom prst="rect">
            <a:avLst/>
          </a:prstGeom>
        </p:spPr>
        <p:txBody>
          <a:bodyPr wrap="square">
            <a:spAutoFit/>
          </a:bodyPr>
          <a:lstStyle/>
          <a:p>
            <a:r>
              <a:rPr lang="en-US" sz="1000" dirty="0">
                <a:solidFill>
                  <a:srgbClr val="000000"/>
                </a:solidFill>
                <a:cs typeface="Arial"/>
              </a:rPr>
              <a:t>There is a need to make customer data available to the downstream systems from Customer core source systems CRIS and CSS in real-time or near real-time.  There are two requirements that we need to satisfy.  First, capture change data from source systems in real or near-real time.  Second, make them available for the downstream systems. </a:t>
            </a:r>
            <a:endParaRPr lang="en-US" sz="1000" dirty="0">
              <a:solidFill>
                <a:srgbClr val="000000"/>
              </a:solidFill>
            </a:endParaRPr>
          </a:p>
        </p:txBody>
      </p:sp>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rPr>
              <a:t>Requirement</a:t>
            </a:r>
          </a:p>
        </p:txBody>
      </p:sp>
      <p:graphicFrame>
        <p:nvGraphicFramePr>
          <p:cNvPr id="7" name="Table 3">
            <a:extLst>
              <a:ext uri="{FF2B5EF4-FFF2-40B4-BE49-F238E27FC236}">
                <a16:creationId xmlns:a16="http://schemas.microsoft.com/office/drawing/2014/main" id="{0F42F025-8686-4071-AC20-F35034ECF428}"/>
              </a:ext>
            </a:extLst>
          </p:cNvPr>
          <p:cNvGraphicFramePr>
            <a:graphicFrameLocks noGrp="1"/>
          </p:cNvGraphicFramePr>
          <p:nvPr>
            <p:extLst>
              <p:ext uri="{D42A27DB-BD31-4B8C-83A1-F6EECF244321}">
                <p14:modId xmlns:p14="http://schemas.microsoft.com/office/powerpoint/2010/main" val="121086099"/>
              </p:ext>
            </p:extLst>
          </p:nvPr>
        </p:nvGraphicFramePr>
        <p:xfrm>
          <a:off x="213360" y="939711"/>
          <a:ext cx="8702040" cy="356616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584960">
                  <a:extLst>
                    <a:ext uri="{9D8B030D-6E8A-4147-A177-3AD203B41FA5}">
                      <a16:colId xmlns:a16="http://schemas.microsoft.com/office/drawing/2014/main" val="3548610838"/>
                    </a:ext>
                  </a:extLst>
                </a:gridCol>
                <a:gridCol w="3680460">
                  <a:extLst>
                    <a:ext uri="{9D8B030D-6E8A-4147-A177-3AD203B41FA5}">
                      <a16:colId xmlns:a16="http://schemas.microsoft.com/office/drawing/2014/main" val="733342129"/>
                    </a:ext>
                  </a:extLst>
                </a:gridCol>
                <a:gridCol w="3070860">
                  <a:extLst>
                    <a:ext uri="{9D8B030D-6E8A-4147-A177-3AD203B41FA5}">
                      <a16:colId xmlns:a16="http://schemas.microsoft.com/office/drawing/2014/main" val="1158180464"/>
                    </a:ext>
                  </a:extLst>
                </a:gridCol>
              </a:tblGrid>
              <a:tr h="0">
                <a:tc>
                  <a:txBody>
                    <a:bodyPr/>
                    <a:lstStyle/>
                    <a:p>
                      <a:r>
                        <a:rPr lang="en-US" sz="1100">
                          <a:solidFill>
                            <a:schemeClr val="bg1"/>
                          </a:solidFill>
                        </a:rPr>
                        <a:t>#</a:t>
                      </a:r>
                    </a:p>
                  </a:txBody>
                  <a:tcPr/>
                </a:tc>
                <a:tc>
                  <a:txBody>
                    <a:bodyPr/>
                    <a:lstStyle/>
                    <a:p>
                      <a:r>
                        <a:rPr lang="en-US" sz="1100">
                          <a:solidFill>
                            <a:schemeClr val="bg1"/>
                          </a:solidFill>
                        </a:rPr>
                        <a:t>Requirement Category</a:t>
                      </a:r>
                    </a:p>
                  </a:txBody>
                  <a:tcPr/>
                </a:tc>
                <a:tc>
                  <a:txBody>
                    <a:bodyPr/>
                    <a:lstStyle/>
                    <a:p>
                      <a:r>
                        <a:rPr lang="en-US" sz="1100">
                          <a:solidFill>
                            <a:schemeClr val="bg1"/>
                          </a:solidFill>
                        </a:rPr>
                        <a:t>Requirement Detail</a:t>
                      </a:r>
                    </a:p>
                  </a:txBody>
                  <a:tcPr/>
                </a:tc>
                <a:tc>
                  <a:txBody>
                    <a:bodyPr/>
                    <a:lstStyle/>
                    <a:p>
                      <a:r>
                        <a:rPr lang="en-US" sz="1100">
                          <a:solidFill>
                            <a:schemeClr val="bg1"/>
                          </a:solidFill>
                        </a:rPr>
                        <a:t>Consumers/Use cases</a:t>
                      </a:r>
                    </a:p>
                  </a:txBody>
                  <a:tcPr/>
                </a:tc>
                <a:extLst>
                  <a:ext uri="{0D108BD9-81ED-4DB2-BD59-A6C34878D82A}">
                    <a16:rowId xmlns:a16="http://schemas.microsoft.com/office/drawing/2014/main" val="163652521"/>
                  </a:ext>
                </a:extLst>
              </a:tr>
              <a:tr h="153793">
                <a:tc>
                  <a:txBody>
                    <a:bodyPr/>
                    <a:lstStyle/>
                    <a:p>
                      <a:r>
                        <a:rPr lang="en-US" sz="1100" b="1">
                          <a:solidFill>
                            <a:schemeClr val="tx1">
                              <a:lumMod val="50000"/>
                            </a:schemeClr>
                          </a:solidFill>
                        </a:rPr>
                        <a:t>1</a:t>
                      </a:r>
                    </a:p>
                  </a:txBody>
                  <a:tcPr/>
                </a:tc>
                <a:tc>
                  <a:txBody>
                    <a:bodyPr/>
                    <a:lstStyle/>
                    <a:p>
                      <a:r>
                        <a:rPr lang="en-US" sz="1100" b="1">
                          <a:solidFill>
                            <a:schemeClr val="tx1">
                              <a:lumMod val="50000"/>
                            </a:schemeClr>
                          </a:solidFill>
                        </a:rPr>
                        <a:t>Source systems data accessi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ble to access any customer data changes from both source systems in real-time to near real-time</a:t>
                      </a:r>
                    </a:p>
                    <a:p>
                      <a:pPr marL="171450" marR="0" lvl="0" indent="-171450" algn="l" rtl="0" eaLnBrk="1" fontAlgn="base" latinLnBrk="0" hangingPunct="1">
                        <a:lnSpc>
                          <a:spcPct val="100000"/>
                        </a:lnSpc>
                        <a:spcBef>
                          <a:spcPct val="0"/>
                        </a:spcBef>
                        <a:spcAft>
                          <a:spcPts val="0"/>
                        </a:spcAft>
                        <a:buClr>
                          <a:schemeClr val="tx1"/>
                        </a:buClr>
                        <a:buSzTx/>
                        <a:buFont typeface="Arial" panose="020B0604020202020204" pitchFamily="34" charset="0"/>
                        <a:buChar char="•"/>
                      </a:pPr>
                      <a:r>
                        <a:rPr lang="en-US" sz="1100" b="0">
                          <a:solidFill>
                            <a:schemeClr val="tx1">
                              <a:lumMod val="50000"/>
                            </a:schemeClr>
                          </a:solidFill>
                          <a:latin typeface="+mn-lt"/>
                          <a:ea typeface="+mn-ea"/>
                          <a:cs typeface="+mn-cs"/>
                        </a:rPr>
                        <a:t>Able to prioritize as per the data needs and classifica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Platform - Reltio master data repository, Snowflake enterprise consolidated data repository</a:t>
                      </a:r>
                    </a:p>
                  </a:txBody>
                  <a:tcPr/>
                </a:tc>
                <a:extLst>
                  <a:ext uri="{0D108BD9-81ED-4DB2-BD59-A6C34878D82A}">
                    <a16:rowId xmlns:a16="http://schemas.microsoft.com/office/drawing/2014/main" val="4222057156"/>
                  </a:ext>
                </a:extLst>
              </a:tr>
              <a:tr h="0">
                <a:tc>
                  <a:txBody>
                    <a:bodyPr/>
                    <a:lstStyle/>
                    <a:p>
                      <a:r>
                        <a:rPr lang="en-US" sz="1100" b="1">
                          <a:solidFill>
                            <a:schemeClr val="tx1">
                              <a:lumMod val="50000"/>
                            </a:schemeClr>
                          </a:solidFill>
                        </a:rPr>
                        <a:t>2.</a:t>
                      </a:r>
                    </a:p>
                  </a:txBody>
                  <a:tcPr/>
                </a:tc>
                <a:tc>
                  <a:txBody>
                    <a:bodyPr/>
                    <a:lstStyle/>
                    <a:p>
                      <a:r>
                        <a:rPr lang="en-US" sz="1100" b="1">
                          <a:solidFill>
                            <a:schemeClr val="tx1">
                              <a:lumMod val="50000"/>
                            </a:schemeClr>
                          </a:solidFill>
                        </a:rPr>
                        <a:t>Availa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available to downstream systems 24x7, near real-time or batch</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ble to provide access to incremental change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RM/Salesforce, AMI, Digital programs, SAP, Web applications </a:t>
                      </a:r>
                      <a:r>
                        <a:rPr lang="en-US" sz="1100" b="0" err="1">
                          <a:solidFill>
                            <a:schemeClr val="tx1">
                              <a:lumMod val="50000"/>
                            </a:schemeClr>
                          </a:solidFill>
                          <a:latin typeface="+mn-lt"/>
                          <a:ea typeface="+mn-ea"/>
                          <a:cs typeface="+mn-cs"/>
                        </a:rPr>
                        <a:t>etc</a:t>
                      </a:r>
                      <a:endParaRPr lang="en-US" sz="1100" b="0">
                        <a:solidFill>
                          <a:schemeClr val="tx1">
                            <a:lumMod val="50000"/>
                          </a:schemeClr>
                        </a:solidFill>
                        <a:latin typeface="+mn-lt"/>
                        <a:ea typeface="+mn-ea"/>
                        <a:cs typeface="+mn-cs"/>
                      </a:endParaRPr>
                    </a:p>
                  </a:txBody>
                  <a:tcPr/>
                </a:tc>
                <a:extLst>
                  <a:ext uri="{0D108BD9-81ED-4DB2-BD59-A6C34878D82A}">
                    <a16:rowId xmlns:a16="http://schemas.microsoft.com/office/drawing/2014/main" val="3343480495"/>
                  </a:ext>
                </a:extLst>
              </a:tr>
              <a:tr h="197171">
                <a:tc>
                  <a:txBody>
                    <a:bodyPr/>
                    <a:lstStyle/>
                    <a:p>
                      <a:r>
                        <a:rPr lang="en-US" sz="1100">
                          <a:solidFill>
                            <a:schemeClr val="tx1">
                              <a:lumMod val="50000"/>
                            </a:schemeClr>
                          </a:solidFill>
                        </a:rPr>
                        <a:t>3.</a:t>
                      </a:r>
                    </a:p>
                  </a:txBody>
                  <a:tcPr/>
                </a:tc>
                <a:tc>
                  <a:txBody>
                    <a:bodyPr/>
                    <a:lstStyle/>
                    <a:p>
                      <a:r>
                        <a:rPr lang="en-US" sz="1100" b="1">
                          <a:solidFill>
                            <a:schemeClr val="tx1">
                              <a:lumMod val="50000"/>
                            </a:schemeClr>
                          </a:solidFill>
                        </a:rPr>
                        <a:t>Volum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ll customers from both source systems</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ll business data for each customer from both source system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Platform - Reltio master data repository, Snowflake enterprise consolidated data repository</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MI, Digital programs</a:t>
                      </a:r>
                    </a:p>
                  </a:txBody>
                  <a:tcPr/>
                </a:tc>
                <a:extLst>
                  <a:ext uri="{0D108BD9-81ED-4DB2-BD59-A6C34878D82A}">
                    <a16:rowId xmlns:a16="http://schemas.microsoft.com/office/drawing/2014/main" val="3582921165"/>
                  </a:ext>
                </a:extLst>
              </a:tr>
              <a:tr h="197171">
                <a:tc>
                  <a:txBody>
                    <a:bodyPr/>
                    <a:lstStyle/>
                    <a:p>
                      <a:r>
                        <a:rPr lang="en-US" sz="1100">
                          <a:solidFill>
                            <a:schemeClr val="tx1">
                              <a:lumMod val="50000"/>
                            </a:schemeClr>
                          </a:solidFill>
                        </a:rPr>
                        <a:t>4. </a:t>
                      </a:r>
                    </a:p>
                  </a:txBody>
                  <a:tcPr/>
                </a:tc>
                <a:tc>
                  <a:txBody>
                    <a:bodyPr/>
                    <a:lstStyle/>
                    <a:p>
                      <a:pPr algn="l"/>
                      <a:r>
                        <a:rPr lang="en-US" sz="1100" b="1" i="0" u="none" kern="1200" spc="0">
                          <a:solidFill>
                            <a:srgbClr val="000000"/>
                          </a:solidFill>
                          <a:latin typeface="Arial" panose="020B0604020202020204" pitchFamily="34" charset="0"/>
                          <a:ea typeface="+mn-ea"/>
                          <a:cs typeface="+mn-cs"/>
                        </a:rPr>
                        <a:t>Reduce resource usage on Mainframe server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Offload the Mainframe server load to reduce the MIPS usage</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dd required resources to mainframe server requires for the new solu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SS, CRIS</a:t>
                      </a:r>
                    </a:p>
                  </a:txBody>
                  <a:tcPr/>
                </a:tc>
                <a:extLst>
                  <a:ext uri="{0D108BD9-81ED-4DB2-BD59-A6C34878D82A}">
                    <a16:rowId xmlns:a16="http://schemas.microsoft.com/office/drawing/2014/main" val="3135763791"/>
                  </a:ext>
                </a:extLst>
              </a:tr>
              <a:tr h="0">
                <a:tc>
                  <a:txBody>
                    <a:bodyPr/>
                    <a:lstStyle/>
                    <a:p>
                      <a:r>
                        <a:rPr lang="en-US" sz="1100">
                          <a:solidFill>
                            <a:schemeClr val="tx1">
                              <a:lumMod val="50000"/>
                            </a:schemeClr>
                          </a:solidFill>
                        </a:rPr>
                        <a:t>5.</a:t>
                      </a:r>
                    </a:p>
                  </a:txBody>
                  <a:tcPr/>
                </a:tc>
                <a:tc>
                  <a:txBody>
                    <a:bodyPr/>
                    <a:lstStyle/>
                    <a:p>
                      <a:pPr algn="l"/>
                      <a:r>
                        <a:rPr lang="en-US" sz="1100" b="1" i="0" u="none" kern="1200" spc="0">
                          <a:solidFill>
                            <a:srgbClr val="000000"/>
                          </a:solidFill>
                          <a:latin typeface="Arial" panose="020B0604020202020204" pitchFamily="34" charset="0"/>
                          <a:ea typeface="+mn-ea"/>
                          <a:cs typeface="+mn-cs"/>
                        </a:rPr>
                        <a:t>Future proof</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ble to support future CSS records volume increas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RIS customers migration to CSS</a:t>
                      </a:r>
                    </a:p>
                  </a:txBody>
                  <a:tcPr/>
                </a:tc>
                <a:extLst>
                  <a:ext uri="{0D108BD9-81ED-4DB2-BD59-A6C34878D82A}">
                    <a16:rowId xmlns:a16="http://schemas.microsoft.com/office/drawing/2014/main" val="4167938046"/>
                  </a:ext>
                </a:extLst>
              </a:tr>
            </a:tbl>
          </a:graphicData>
        </a:graphic>
      </p:graphicFrame>
    </p:spTree>
    <p:extLst>
      <p:ext uri="{BB962C8B-B14F-4D97-AF65-F5344CB8AC3E}">
        <p14:creationId xmlns:p14="http://schemas.microsoft.com/office/powerpoint/2010/main" val="1536676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a:solidFill>
                  <a:srgbClr val="0038AE"/>
                </a:solidFill>
              </a:rPr>
              <a:t>CS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2979172"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SS</a:t>
            </a:r>
          </a:p>
        </p:txBody>
      </p:sp>
      <p:sp>
        <p:nvSpPr>
          <p:cNvPr id="14" name="Flowchart: Magnetic Disk 13">
            <a:extLst>
              <a:ext uri="{FF2B5EF4-FFF2-40B4-BE49-F238E27FC236}">
                <a16:creationId xmlns:a16="http://schemas.microsoft.com/office/drawing/2014/main" id="{B1EC4B3C-1664-4619-B10F-D1B178F08584}"/>
              </a:ext>
            </a:extLst>
          </p:cNvPr>
          <p:cNvSpPr/>
          <p:nvPr/>
        </p:nvSpPr>
        <p:spPr bwMode="auto">
          <a:xfrm>
            <a:off x="1951529" y="2407075"/>
            <a:ext cx="1133475" cy="747252"/>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SS CDC</a:t>
            </a:r>
          </a:p>
        </p:txBody>
      </p:sp>
      <p:cxnSp>
        <p:nvCxnSpPr>
          <p:cNvPr id="16" name="Straight Arrow Connector 15">
            <a:extLst>
              <a:ext uri="{FF2B5EF4-FFF2-40B4-BE49-F238E27FC236}">
                <a16:creationId xmlns:a16="http://schemas.microsoft.com/office/drawing/2014/main" id="{DF5FDB1E-D627-4DDF-93B6-455E01FBB4D0}"/>
              </a:ext>
            </a:extLst>
          </p:cNvPr>
          <p:cNvCxnSpPr>
            <a:stCxn id="13" idx="4"/>
            <a:endCxn id="14" idx="2"/>
          </p:cNvCxnSpPr>
          <p:nvPr/>
        </p:nvCxnSpPr>
        <p:spPr bwMode="auto">
          <a:xfrm>
            <a:off x="1430605" y="2778705"/>
            <a:ext cx="520925" cy="1996"/>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276301" y="1834760"/>
            <a:ext cx="1600500"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S SQL 2016</a:t>
            </a:r>
          </a:p>
        </p:txBody>
      </p:sp>
      <p:sp>
        <p:nvSpPr>
          <p:cNvPr id="18" name="Flowchart: Magnetic Disk 17">
            <a:extLst>
              <a:ext uri="{FF2B5EF4-FFF2-40B4-BE49-F238E27FC236}">
                <a16:creationId xmlns:a16="http://schemas.microsoft.com/office/drawing/2014/main" id="{7DFA137D-2757-446B-A17A-065BDBEC19AB}"/>
              </a:ext>
            </a:extLst>
          </p:cNvPr>
          <p:cNvSpPr/>
          <p:nvPr/>
        </p:nvSpPr>
        <p:spPr bwMode="auto">
          <a:xfrm>
            <a:off x="3509813" y="2402870"/>
            <a:ext cx="1133475" cy="747252"/>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Stage</a:t>
            </a:r>
          </a:p>
        </p:txBody>
      </p:sp>
      <p:cxnSp>
        <p:nvCxnSpPr>
          <p:cNvPr id="19" name="Straight Arrow Connector 18">
            <a:extLst>
              <a:ext uri="{FF2B5EF4-FFF2-40B4-BE49-F238E27FC236}">
                <a16:creationId xmlns:a16="http://schemas.microsoft.com/office/drawing/2014/main" id="{35EF1EA3-BC8D-488C-ABC2-0EF0B0887791}"/>
              </a:ext>
            </a:extLst>
          </p:cNvPr>
          <p:cNvCxnSpPr>
            <a:cxnSpLocks/>
            <a:stCxn id="14" idx="3"/>
            <a:endCxn id="35" idx="1"/>
          </p:cNvCxnSpPr>
          <p:nvPr/>
        </p:nvCxnSpPr>
        <p:spPr bwMode="auto">
          <a:xfrm>
            <a:off x="2518268" y="3154328"/>
            <a:ext cx="4510" cy="23319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9" y="3838040"/>
            <a:ext cx="2207732"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80780"/>
            <a:ext cx="299940" cy="192997"/>
          </a:xfrm>
          <a:prstGeom prst="flowChartMagneticDisk">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103722"/>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74929" y="446168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69077" y="4457168"/>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164326" y="4375062"/>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Batch</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2049151" y="437791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68787"/>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174467" y="4125829"/>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732448"/>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a:solidFill>
                  <a:srgbClr val="55555A"/>
                </a:solidFill>
                <a:latin typeface="Arial"/>
                <a:ea typeface="ＭＳ Ｐゴシック"/>
              </a:rPr>
              <a:t>Issues:</a:t>
            </a:r>
          </a:p>
        </p:txBody>
      </p:sp>
      <p:sp>
        <p:nvSpPr>
          <p:cNvPr id="73" name="Oval 72">
            <a:extLst>
              <a:ext uri="{FF2B5EF4-FFF2-40B4-BE49-F238E27FC236}">
                <a16:creationId xmlns:a16="http://schemas.microsoft.com/office/drawing/2014/main" id="{9FB9C939-4E19-4706-A10A-60116FC4CB75}"/>
              </a:ext>
            </a:extLst>
          </p:cNvPr>
          <p:cNvSpPr/>
          <p:nvPr/>
        </p:nvSpPr>
        <p:spPr bwMode="auto">
          <a:xfrm>
            <a:off x="1501625" y="242618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74" name="Oval 73">
            <a:extLst>
              <a:ext uri="{FF2B5EF4-FFF2-40B4-BE49-F238E27FC236}">
                <a16:creationId xmlns:a16="http://schemas.microsoft.com/office/drawing/2014/main" id="{7D24FEE7-A27D-4D59-A402-2E20518B63E5}"/>
              </a:ext>
            </a:extLst>
          </p:cNvPr>
          <p:cNvSpPr/>
          <p:nvPr/>
        </p:nvSpPr>
        <p:spPr bwMode="auto">
          <a:xfrm>
            <a:off x="3124586" y="256177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75" name="TextBox 74">
            <a:extLst>
              <a:ext uri="{FF2B5EF4-FFF2-40B4-BE49-F238E27FC236}">
                <a16:creationId xmlns:a16="http://schemas.microsoft.com/office/drawing/2014/main" id="{6B585D1B-DF96-4A17-B074-E908D12CCEDF}"/>
              </a:ext>
            </a:extLst>
          </p:cNvPr>
          <p:cNvSpPr txBox="1"/>
          <p:nvPr/>
        </p:nvSpPr>
        <p:spPr bwMode="auto">
          <a:xfrm>
            <a:off x="1450269" y="2829977"/>
            <a:ext cx="52092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800">
                <a:solidFill>
                  <a:srgbClr val="55555A"/>
                </a:solidFill>
                <a:latin typeface="Arial"/>
                <a:ea typeface="ＭＳ Ｐゴシック"/>
              </a:rPr>
              <a:t>Replicator</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81949" y="105440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57212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81949" y="180337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112839"/>
            <a:ext cx="3415352" cy="283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a:solidFill>
                  <a:srgbClr val="55555A"/>
                </a:solidFill>
                <a:latin typeface="Arial"/>
                <a:ea typeface="ＭＳ Ｐゴシック"/>
              </a:rPr>
              <a:t>CSS system batch processes all transactions at night for the performance reason</a:t>
            </a: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No audit columns available in key CSS tables </a:t>
            </a: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Only around 40 CSS tables are replicated to CDC tables (with audit columns) out of more than 100 total tables using </a:t>
            </a:r>
            <a:r>
              <a:rPr lang="en-US" sz="1200" b="0" err="1">
                <a:solidFill>
                  <a:srgbClr val="55555A"/>
                </a:solidFill>
                <a:latin typeface="Arial"/>
                <a:ea typeface="ＭＳ Ｐゴシック"/>
              </a:rPr>
              <a:t>SQLReplicator</a:t>
            </a:r>
            <a:r>
              <a:rPr lang="en-US" sz="1200" b="0" dirty="0">
                <a:solidFill>
                  <a:srgbClr val="55555A"/>
                </a:solidFill>
                <a:latin typeface="Arial"/>
                <a:ea typeface="ＭＳ Ｐゴシック"/>
              </a:rPr>
              <a:t> </a:t>
            </a:r>
            <a:endParaRPr lang="en-US" sz="1200" b="0" dirty="0">
              <a:solidFill>
                <a:srgbClr val="55555A"/>
              </a:solidFill>
              <a:latin typeface="Arial"/>
              <a:ea typeface="ＭＳ Ｐゴシック"/>
              <a:cs typeface="Arial"/>
            </a:endParaRP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Each early morning a batch process pushes incremental change records from CSS CDC tables to Azure MS SQL for the downstream use</a:t>
            </a:r>
          </a:p>
        </p:txBody>
      </p:sp>
      <p:sp>
        <p:nvSpPr>
          <p:cNvPr id="80" name="Oval 79">
            <a:extLst>
              <a:ext uri="{FF2B5EF4-FFF2-40B4-BE49-F238E27FC236}">
                <a16:creationId xmlns:a16="http://schemas.microsoft.com/office/drawing/2014/main" id="{61DD70CA-A92D-426D-9E2A-86E3C3743291}"/>
              </a:ext>
            </a:extLst>
          </p:cNvPr>
          <p:cNvSpPr/>
          <p:nvPr/>
        </p:nvSpPr>
        <p:spPr bwMode="auto">
          <a:xfrm>
            <a:off x="894062"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81" name="Oval 80">
            <a:extLst>
              <a:ext uri="{FF2B5EF4-FFF2-40B4-BE49-F238E27FC236}">
                <a16:creationId xmlns:a16="http://schemas.microsoft.com/office/drawing/2014/main" id="{95E6E6CD-3D71-443B-85FC-D7A44F72446F}"/>
              </a:ext>
            </a:extLst>
          </p:cNvPr>
          <p:cNvSpPr/>
          <p:nvPr/>
        </p:nvSpPr>
        <p:spPr bwMode="auto">
          <a:xfrm>
            <a:off x="5281949" y="236139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81949" y="330091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35" name="Flowchart: Magnetic Disk 34">
            <a:extLst>
              <a:ext uri="{FF2B5EF4-FFF2-40B4-BE49-F238E27FC236}">
                <a16:creationId xmlns:a16="http://schemas.microsoft.com/office/drawing/2014/main" id="{FA0B5A33-833A-4D3B-A21F-6E2F0A43055E}"/>
              </a:ext>
            </a:extLst>
          </p:cNvPr>
          <p:cNvSpPr/>
          <p:nvPr/>
        </p:nvSpPr>
        <p:spPr bwMode="auto">
          <a:xfrm>
            <a:off x="2136242" y="3387518"/>
            <a:ext cx="773070" cy="362016"/>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000">
                <a:solidFill>
                  <a:schemeClr val="bg1"/>
                </a:solidFill>
                <a:cs typeface="Arial"/>
              </a:rPr>
              <a:t>MS SQL</a:t>
            </a:r>
          </a:p>
        </p:txBody>
      </p:sp>
      <p:cxnSp>
        <p:nvCxnSpPr>
          <p:cNvPr id="36" name="Straight Arrow Connector 35">
            <a:extLst>
              <a:ext uri="{FF2B5EF4-FFF2-40B4-BE49-F238E27FC236}">
                <a16:creationId xmlns:a16="http://schemas.microsoft.com/office/drawing/2014/main" id="{A7675672-FC10-4247-B656-DBE3BBA15A7B}"/>
              </a:ext>
            </a:extLst>
          </p:cNvPr>
          <p:cNvCxnSpPr>
            <a:cxnSpLocks/>
            <a:stCxn id="35" idx="4"/>
            <a:endCxn id="18" idx="2"/>
          </p:cNvCxnSpPr>
          <p:nvPr/>
        </p:nvCxnSpPr>
        <p:spPr bwMode="auto">
          <a:xfrm flipV="1">
            <a:off x="2909312" y="2776496"/>
            <a:ext cx="600501" cy="792030"/>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5063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a:solidFill>
                  <a:srgbClr val="0038AE"/>
                </a:solidFill>
              </a:rPr>
              <a:t>CRI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3070025"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RIS</a:t>
            </a:r>
          </a:p>
        </p:txBody>
      </p:sp>
      <p:cxnSp>
        <p:nvCxnSpPr>
          <p:cNvPr id="16" name="Straight Arrow Connector 15">
            <a:extLst>
              <a:ext uri="{FF2B5EF4-FFF2-40B4-BE49-F238E27FC236}">
                <a16:creationId xmlns:a16="http://schemas.microsoft.com/office/drawing/2014/main" id="{DF5FDB1E-D627-4DDF-93B6-455E01FBB4D0}"/>
              </a:ext>
            </a:extLst>
          </p:cNvPr>
          <p:cNvCxnSpPr>
            <a:cxnSpLocks/>
            <a:stCxn id="13" idx="4"/>
            <a:endCxn id="24" idx="1"/>
          </p:cNvCxnSpPr>
          <p:nvPr/>
        </p:nvCxnSpPr>
        <p:spPr bwMode="auto">
          <a:xfrm flipV="1">
            <a:off x="1430605" y="2776051"/>
            <a:ext cx="506084" cy="2655"/>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450816" y="1834760"/>
            <a:ext cx="1425986"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endParaRPr lang="en-US" sz="1700">
              <a:solidFill>
                <a:schemeClr val="tx2">
                  <a:lumMod val="50000"/>
                </a:schemeClr>
              </a:solidFill>
              <a:cs typeface="Arial"/>
            </a:endParaRPr>
          </a:p>
        </p:txBody>
      </p: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8" y="3838040"/>
            <a:ext cx="2616539"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41452"/>
            <a:ext cx="299940" cy="192997"/>
          </a:xfrm>
          <a:prstGeom prst="flowChartMagneticDisk">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064394"/>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06105" y="441252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39577" y="4417840"/>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094915" y="4325919"/>
            <a:ext cx="130741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buClr>
                <a:srgbClr val="55555A"/>
              </a:buClr>
            </a:pPr>
            <a:r>
              <a:rPr lang="en-US" sz="1050" dirty="0">
                <a:solidFill>
                  <a:srgbClr val="55555A"/>
                </a:solidFill>
                <a:latin typeface="Arial"/>
                <a:ea typeface="ＭＳ Ｐゴシック"/>
              </a:rPr>
              <a:t>Near Real-time</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1980328" y="432875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29459"/>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085979" y="4076668"/>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695086"/>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a:solidFill>
                  <a:srgbClr val="55555A"/>
                </a:solidFill>
                <a:latin typeface="Arial"/>
                <a:ea typeface="ＭＳ Ｐゴシック"/>
              </a:rPr>
              <a:t>Issues:</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52453" y="102638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42464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52453" y="206892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084820"/>
            <a:ext cx="3415352" cy="3611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dirty="0">
                <a:solidFill>
                  <a:srgbClr val="55555A"/>
                </a:solidFill>
                <a:latin typeface="Arial"/>
                <a:ea typeface="ＭＳ Ｐゴシック"/>
              </a:rPr>
              <a:t>CRIS system batch processes all transactions at night for the performance reason.  Also, CRIS application is not accessible, and all interfaces are also not available during batch processing</a:t>
            </a:r>
          </a:p>
          <a:p>
            <a:pPr defTabSz="1219139">
              <a:spcAft>
                <a:spcPts val="800"/>
              </a:spcAft>
              <a:buClr>
                <a:srgbClr val="55555A"/>
              </a:buClr>
            </a:pPr>
            <a:endParaRPr lang="en-US" sz="8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Mainframe resources and performance issue to publish and push change transactions to downstream systems via MuleSoft</a:t>
            </a:r>
          </a:p>
          <a:p>
            <a:pPr defTabSz="1219139">
              <a:spcAft>
                <a:spcPts val="800"/>
              </a:spcAft>
              <a:buClr>
                <a:srgbClr val="55555A"/>
              </a:buClr>
            </a:pPr>
            <a:endParaRPr lang="en-US" sz="8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All CRIS data changes are available via MuleSoft service in near real-time except during CRIS batch process</a:t>
            </a:r>
          </a:p>
          <a:p>
            <a:pPr defTabSz="1219139">
              <a:spcAft>
                <a:spcPts val="800"/>
              </a:spcAft>
              <a:buClr>
                <a:srgbClr val="55555A"/>
              </a:buClr>
            </a:pPr>
            <a:endParaRPr lang="en-US" sz="8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Data sync event publication is available only for the customers who have online web profile that are less than 50% customers of total population</a:t>
            </a:r>
          </a:p>
          <a:p>
            <a:pPr defTabSz="1219139">
              <a:spcAft>
                <a:spcPts val="800"/>
              </a:spcAft>
              <a:buClr>
                <a:srgbClr val="55555A"/>
              </a:buClr>
            </a:pPr>
            <a:endParaRPr lang="en-US" sz="800" b="0" dirty="0">
              <a:solidFill>
                <a:srgbClr val="55555A"/>
              </a:solidFill>
              <a:latin typeface="Arial"/>
              <a:ea typeface="ＭＳ Ｐゴシック"/>
            </a:endParaRPr>
          </a:p>
        </p:txBody>
      </p:sp>
      <p:sp>
        <p:nvSpPr>
          <p:cNvPr id="81" name="Oval 80">
            <a:extLst>
              <a:ext uri="{FF2B5EF4-FFF2-40B4-BE49-F238E27FC236}">
                <a16:creationId xmlns:a16="http://schemas.microsoft.com/office/drawing/2014/main" id="{95E6E6CD-3D71-443B-85FC-D7A44F72446F}"/>
              </a:ext>
            </a:extLst>
          </p:cNvPr>
          <p:cNvSpPr/>
          <p:nvPr/>
        </p:nvSpPr>
        <p:spPr bwMode="auto">
          <a:xfrm>
            <a:off x="5264299" y="296299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64299" y="383029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pic>
        <p:nvPicPr>
          <p:cNvPr id="22" name="Picture 21">
            <a:extLst>
              <a:ext uri="{FF2B5EF4-FFF2-40B4-BE49-F238E27FC236}">
                <a16:creationId xmlns:a16="http://schemas.microsoft.com/office/drawing/2014/main" id="{A5E17AD4-76E6-463D-BFCE-A759F2288575}"/>
              </a:ext>
            </a:extLst>
          </p:cNvPr>
          <p:cNvPicPr>
            <a:picLocks noChangeAspect="1"/>
          </p:cNvPicPr>
          <p:nvPr/>
        </p:nvPicPr>
        <p:blipFill>
          <a:blip r:embed="rId10"/>
          <a:stretch>
            <a:fillRect/>
          </a:stretch>
        </p:blipFill>
        <p:spPr>
          <a:xfrm>
            <a:off x="3642879" y="2573845"/>
            <a:ext cx="1152508" cy="394423"/>
          </a:xfrm>
          <a:prstGeom prst="rect">
            <a:avLst/>
          </a:prstGeom>
          <a:ln>
            <a:solidFill>
              <a:schemeClr val="tx1">
                <a:lumMod val="50000"/>
              </a:schemeClr>
            </a:solidFill>
          </a:ln>
        </p:spPr>
      </p:pic>
      <p:sp>
        <p:nvSpPr>
          <p:cNvPr id="24" name="Flowchart: Multidocument 23">
            <a:extLst>
              <a:ext uri="{FF2B5EF4-FFF2-40B4-BE49-F238E27FC236}">
                <a16:creationId xmlns:a16="http://schemas.microsoft.com/office/drawing/2014/main" id="{51CBDB4A-E47C-4D33-90B1-78DB8CC87FAD}"/>
              </a:ext>
            </a:extLst>
          </p:cNvPr>
          <p:cNvSpPr/>
          <p:nvPr/>
        </p:nvSpPr>
        <p:spPr bwMode="auto">
          <a:xfrm>
            <a:off x="1936689" y="2396574"/>
            <a:ext cx="1239131" cy="758952"/>
          </a:xfrm>
          <a:prstGeom prst="flowChartMultidocument">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r>
              <a:rPr lang="en-US" sz="1400">
                <a:solidFill>
                  <a:schemeClr val="bg1"/>
                </a:solidFill>
                <a:cs typeface="Arial"/>
              </a:rPr>
              <a:t>Data Sync Event Pub</a:t>
            </a:r>
          </a:p>
          <a:p>
            <a:pPr>
              <a:spcAft>
                <a:spcPts val="450"/>
              </a:spcAft>
            </a:pPr>
            <a:endParaRPr lang="en-US" sz="1400" err="1">
              <a:solidFill>
                <a:schemeClr val="bg1"/>
              </a:solidFill>
              <a:cs typeface="Arial"/>
            </a:endParaRPr>
          </a:p>
        </p:txBody>
      </p:sp>
      <p:sp>
        <p:nvSpPr>
          <p:cNvPr id="40" name="Rectangle: Rounded Corners 39">
            <a:extLst>
              <a:ext uri="{FF2B5EF4-FFF2-40B4-BE49-F238E27FC236}">
                <a16:creationId xmlns:a16="http://schemas.microsoft.com/office/drawing/2014/main" id="{BAAC8560-0337-4D10-BD9F-08EEF3F7E315}"/>
              </a:ext>
            </a:extLst>
          </p:cNvPr>
          <p:cNvSpPr/>
          <p:nvPr/>
        </p:nvSpPr>
        <p:spPr bwMode="auto">
          <a:xfrm>
            <a:off x="2227809" y="3328938"/>
            <a:ext cx="862273" cy="369596"/>
          </a:xfrm>
          <a:prstGeom prst="roundRect">
            <a:avLst/>
          </a:prstGeom>
          <a:solidFill>
            <a:schemeClr val="accent2">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1100" err="1">
                <a:solidFill>
                  <a:schemeClr val="bg1"/>
                </a:solidFill>
                <a:cs typeface="Arial"/>
              </a:rPr>
              <a:t>.Net</a:t>
            </a:r>
            <a:r>
              <a:rPr lang="en-US" sz="1100">
                <a:solidFill>
                  <a:schemeClr val="bg1"/>
                </a:solidFill>
                <a:cs typeface="Arial"/>
              </a:rPr>
              <a:t> MQ Client</a:t>
            </a:r>
          </a:p>
        </p:txBody>
      </p:sp>
      <p:cxnSp>
        <p:nvCxnSpPr>
          <p:cNvPr id="60" name="Straight Arrow Connector 59">
            <a:extLst>
              <a:ext uri="{FF2B5EF4-FFF2-40B4-BE49-F238E27FC236}">
                <a16:creationId xmlns:a16="http://schemas.microsoft.com/office/drawing/2014/main" id="{820E396D-A682-4837-B6FA-023F7949DC87}"/>
              </a:ext>
            </a:extLst>
          </p:cNvPr>
          <p:cNvCxnSpPr>
            <a:cxnSpLocks/>
            <a:stCxn id="24" idx="2"/>
          </p:cNvCxnSpPr>
          <p:nvPr/>
        </p:nvCxnSpPr>
        <p:spPr bwMode="auto">
          <a:xfrm>
            <a:off x="2470089" y="3126784"/>
            <a:ext cx="298988" cy="25949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Straight Arrow Connector 64">
            <a:extLst>
              <a:ext uri="{FF2B5EF4-FFF2-40B4-BE49-F238E27FC236}">
                <a16:creationId xmlns:a16="http://schemas.microsoft.com/office/drawing/2014/main" id="{4A539304-9239-480A-9B80-99A6D906610A}"/>
              </a:ext>
            </a:extLst>
          </p:cNvPr>
          <p:cNvCxnSpPr>
            <a:cxnSpLocks/>
            <a:stCxn id="40" idx="3"/>
            <a:endCxn id="22" idx="1"/>
          </p:cNvCxnSpPr>
          <p:nvPr/>
        </p:nvCxnSpPr>
        <p:spPr bwMode="auto">
          <a:xfrm flipV="1">
            <a:off x="3090081" y="2771057"/>
            <a:ext cx="552798" cy="742679"/>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Oval 68">
            <a:extLst>
              <a:ext uri="{FF2B5EF4-FFF2-40B4-BE49-F238E27FC236}">
                <a16:creationId xmlns:a16="http://schemas.microsoft.com/office/drawing/2014/main" id="{9AEE8CF1-E493-4F5E-ABA7-A369C1EA0502}"/>
              </a:ext>
            </a:extLst>
          </p:cNvPr>
          <p:cNvSpPr/>
          <p:nvPr/>
        </p:nvSpPr>
        <p:spPr bwMode="auto">
          <a:xfrm>
            <a:off x="2749404" y="301257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0" name="Oval 69">
            <a:extLst>
              <a:ext uri="{FF2B5EF4-FFF2-40B4-BE49-F238E27FC236}">
                <a16:creationId xmlns:a16="http://schemas.microsoft.com/office/drawing/2014/main" id="{E3ECDA76-337B-459F-9B41-C78159554B50}"/>
              </a:ext>
            </a:extLst>
          </p:cNvPr>
          <p:cNvSpPr/>
          <p:nvPr/>
        </p:nvSpPr>
        <p:spPr bwMode="auto">
          <a:xfrm>
            <a:off x="3268776" y="245302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83" name="Oval 82">
            <a:extLst>
              <a:ext uri="{FF2B5EF4-FFF2-40B4-BE49-F238E27FC236}">
                <a16:creationId xmlns:a16="http://schemas.microsoft.com/office/drawing/2014/main" id="{60702D3A-CA48-4B6A-8686-F1EB8908C7F4}"/>
              </a:ext>
            </a:extLst>
          </p:cNvPr>
          <p:cNvSpPr/>
          <p:nvPr/>
        </p:nvSpPr>
        <p:spPr bwMode="auto">
          <a:xfrm>
            <a:off x="3108415" y="273476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Tree>
    <p:extLst>
      <p:ext uri="{BB962C8B-B14F-4D97-AF65-F5344CB8AC3E}">
        <p14:creationId xmlns:p14="http://schemas.microsoft.com/office/powerpoint/2010/main" val="262525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59907ED8-794C-4E83-8AB7-EC88DD68083F}"/>
              </a:ext>
            </a:extLst>
          </p:cNvPr>
          <p:cNvGraphicFramePr>
            <a:graphicFrameLocks noGrp="1"/>
          </p:cNvGraphicFramePr>
          <p:nvPr/>
        </p:nvGraphicFramePr>
        <p:xfrm>
          <a:off x="220980" y="604174"/>
          <a:ext cx="8702040" cy="224424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226820">
                  <a:extLst>
                    <a:ext uri="{9D8B030D-6E8A-4147-A177-3AD203B41FA5}">
                      <a16:colId xmlns:a16="http://schemas.microsoft.com/office/drawing/2014/main" val="3548610838"/>
                    </a:ext>
                  </a:extLst>
                </a:gridCol>
                <a:gridCol w="3322320">
                  <a:extLst>
                    <a:ext uri="{9D8B030D-6E8A-4147-A177-3AD203B41FA5}">
                      <a16:colId xmlns:a16="http://schemas.microsoft.com/office/drawing/2014/main" val="733342129"/>
                    </a:ext>
                  </a:extLst>
                </a:gridCol>
                <a:gridCol w="3787140">
                  <a:extLst>
                    <a:ext uri="{9D8B030D-6E8A-4147-A177-3AD203B41FA5}">
                      <a16:colId xmlns:a16="http://schemas.microsoft.com/office/drawing/2014/main" val="1158180464"/>
                    </a:ext>
                  </a:extLst>
                </a:gridCol>
              </a:tblGrid>
              <a:tr h="205520">
                <a:tc>
                  <a:txBody>
                    <a:bodyPr/>
                    <a:lstStyle/>
                    <a:p>
                      <a:r>
                        <a:rPr lang="en-US" sz="1000">
                          <a:solidFill>
                            <a:schemeClr val="bg1"/>
                          </a:solidFill>
                        </a:rPr>
                        <a:t>#</a:t>
                      </a:r>
                    </a:p>
                  </a:txBody>
                  <a:tcPr/>
                </a:tc>
                <a:tc>
                  <a:txBody>
                    <a:bodyPr/>
                    <a:lstStyle/>
                    <a:p>
                      <a:r>
                        <a:rPr lang="en-US" sz="1000">
                          <a:solidFill>
                            <a:schemeClr val="bg1"/>
                          </a:solidFill>
                        </a:rPr>
                        <a:t>Challenges</a:t>
                      </a:r>
                    </a:p>
                  </a:txBody>
                  <a:tcPr/>
                </a:tc>
                <a:tc>
                  <a:txBody>
                    <a:bodyPr/>
                    <a:lstStyle/>
                    <a:p>
                      <a:r>
                        <a:rPr lang="en-US" sz="1000">
                          <a:solidFill>
                            <a:schemeClr val="bg1"/>
                          </a:solidFill>
                        </a:rPr>
                        <a:t>CSS</a:t>
                      </a:r>
                    </a:p>
                  </a:txBody>
                  <a:tcPr/>
                </a:tc>
                <a:tc>
                  <a:txBody>
                    <a:bodyPr/>
                    <a:lstStyle/>
                    <a:p>
                      <a:r>
                        <a:rPr lang="en-US" sz="1000">
                          <a:solidFill>
                            <a:schemeClr val="bg1"/>
                          </a:solidFill>
                        </a:rPr>
                        <a:t>CSS</a:t>
                      </a:r>
                    </a:p>
                  </a:txBody>
                  <a:tcPr/>
                </a:tc>
                <a:extLst>
                  <a:ext uri="{0D108BD9-81ED-4DB2-BD59-A6C34878D82A}">
                    <a16:rowId xmlns:a16="http://schemas.microsoft.com/office/drawing/2014/main" val="163652521"/>
                  </a:ext>
                </a:extLst>
              </a:tr>
              <a:tr h="325170">
                <a:tc>
                  <a:txBody>
                    <a:bodyPr/>
                    <a:lstStyle/>
                    <a:p>
                      <a:pPr algn="ctr"/>
                      <a:r>
                        <a:rPr lang="en-US" sz="1000" b="1">
                          <a:solidFill>
                            <a:srgbClr val="000000"/>
                          </a:solidFill>
                        </a:rPr>
                        <a:t>1</a:t>
                      </a:r>
                    </a:p>
                  </a:txBody>
                  <a:tcPr marL="13500" marR="13500" marT="13500" marB="13500"/>
                </a:tc>
                <a:tc>
                  <a:txBody>
                    <a:bodyPr/>
                    <a:lstStyle/>
                    <a:p>
                      <a:pPr algn="l"/>
                      <a:r>
                        <a:rPr lang="en-US" sz="1000" b="1" i="0" u="none" kern="1200" spc="0">
                          <a:solidFill>
                            <a:srgbClr val="000000"/>
                          </a:solidFill>
                          <a:latin typeface="Arial" panose="020B0604020202020204" pitchFamily="34" charset="0"/>
                          <a:ea typeface="+mn-ea"/>
                          <a:cs typeface="+mn-cs"/>
                        </a:rPr>
                        <a:t>Real time refresh</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ta refreshed using batch process once a day </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Real-time data is pushed using .NET MQ by MuleSoft except during CRIS batch process – outage time</a:t>
                      </a:r>
                    </a:p>
                  </a:txBody>
                  <a:tcPr marL="40500" marR="40500" marT="40500" marB="40500"/>
                </a:tc>
                <a:extLst>
                  <a:ext uri="{0D108BD9-81ED-4DB2-BD59-A6C34878D82A}">
                    <a16:rowId xmlns:a16="http://schemas.microsoft.com/office/drawing/2014/main" val="4222057156"/>
                  </a:ext>
                </a:extLst>
              </a:tr>
              <a:tr h="325170">
                <a:tc>
                  <a:txBody>
                    <a:bodyPr/>
                    <a:lstStyle/>
                    <a:p>
                      <a:pPr algn="ctr"/>
                      <a:r>
                        <a:rPr lang="en-US" sz="1000" b="1">
                          <a:solidFill>
                            <a:srgbClr val="000000"/>
                          </a:solidFill>
                        </a:rPr>
                        <a:t>2</a:t>
                      </a:r>
                    </a:p>
                  </a:txBody>
                  <a:tcPr marL="13500" marR="13500" marT="13500" marB="13500"/>
                </a:tc>
                <a:tc>
                  <a:txBody>
                    <a:bodyPr/>
                    <a:lstStyle/>
                    <a:p>
                      <a:pPr algn="l"/>
                      <a:r>
                        <a:rPr lang="en-US" sz="1000" b="1">
                          <a:solidFill>
                            <a:srgbClr val="000000"/>
                          </a:solidFill>
                        </a:rPr>
                        <a:t>Data completen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Around 40 tables are replicated out of ~100 in CSS, also data filtered during batch proc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50% of customers with online accounts</a:t>
                      </a:r>
                    </a:p>
                  </a:txBody>
                  <a:tcPr marL="40500" marR="40500" marT="40500" marB="40500"/>
                </a:tc>
                <a:extLst>
                  <a:ext uri="{0D108BD9-81ED-4DB2-BD59-A6C34878D82A}">
                    <a16:rowId xmlns:a16="http://schemas.microsoft.com/office/drawing/2014/main" val="3343480495"/>
                  </a:ext>
                </a:extLst>
              </a:tr>
              <a:tr h="325170">
                <a:tc>
                  <a:txBody>
                    <a:bodyPr/>
                    <a:lstStyle/>
                    <a:p>
                      <a:pPr algn="ctr"/>
                      <a:r>
                        <a:rPr lang="en-US" sz="1000" b="1">
                          <a:solidFill>
                            <a:srgbClr val="000000"/>
                          </a:solidFill>
                        </a:rPr>
                        <a:t>3</a:t>
                      </a:r>
                    </a:p>
                  </a:txBody>
                  <a:tcPr marL="13500" marR="13500" marT="13500" marB="13500"/>
                </a:tc>
                <a:tc>
                  <a:txBody>
                    <a:bodyPr/>
                    <a:lstStyle/>
                    <a:p>
                      <a:pPr algn="l"/>
                      <a:r>
                        <a:rPr lang="en-US" sz="1000" b="1">
                          <a:solidFill>
                            <a:srgbClr val="000000"/>
                          </a:solidFill>
                        </a:rPr>
                        <a:t>Missing Audit column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Underlying data sources not having audit columns which makes data pull a challeng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Underlying data sources not having audit columns which makes data pull a challenge</a:t>
                      </a:r>
                    </a:p>
                  </a:txBody>
                  <a:tcPr marL="40500" marR="40500" marT="40500" marB="40500"/>
                </a:tc>
                <a:extLst>
                  <a:ext uri="{0D108BD9-81ED-4DB2-BD59-A6C34878D82A}">
                    <a16:rowId xmlns:a16="http://schemas.microsoft.com/office/drawing/2014/main" val="2452677071"/>
                  </a:ext>
                </a:extLst>
              </a:tr>
              <a:tr h="683676">
                <a:tc>
                  <a:txBody>
                    <a:bodyPr/>
                    <a:lstStyle/>
                    <a:p>
                      <a:pPr algn="ctr"/>
                      <a:r>
                        <a:rPr lang="en-US" sz="1000" b="1">
                          <a:solidFill>
                            <a:srgbClr val="000000"/>
                          </a:solidFill>
                        </a:rPr>
                        <a:t>4</a:t>
                      </a:r>
                    </a:p>
                  </a:txBody>
                  <a:tcPr marL="13500" marR="13500" marT="13500" marB="13500"/>
                </a:tc>
                <a:tc>
                  <a:txBody>
                    <a:bodyPr/>
                    <a:lstStyle/>
                    <a:p>
                      <a:pPr algn="l"/>
                      <a:r>
                        <a:rPr lang="en-US" sz="1000" b="1">
                          <a:solidFill>
                            <a:srgbClr val="000000"/>
                          </a:solidFill>
                        </a:rPr>
                        <a:t>Performance Issue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ta extracted as flat files only after batch updates on CSS.</a:t>
                      </a:r>
                    </a:p>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ily batch updates (Meter rates, IVR, CSR, TSR, Field Workers, etc..), file extracts and transfer waiting on batch loads to complet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b="0" i="0" u="none" kern="1200" spc="0">
                          <a:solidFill>
                            <a:srgbClr val="000000"/>
                          </a:solidFill>
                          <a:latin typeface="Arial" panose="020B0604020202020204" pitchFamily="34" charset="0"/>
                          <a:ea typeface="+mn-ea"/>
                          <a:cs typeface="+mn-cs"/>
                        </a:rPr>
                        <a:t>CRIS system batch processes transactions nightly and this leads to sync and performance issues with Q replication and MuleSoft data transfer</a:t>
                      </a:r>
                    </a:p>
                  </a:txBody>
                  <a:tcPr marL="40500" marR="40500" marT="40500" marB="40500"/>
                </a:tc>
                <a:extLst>
                  <a:ext uri="{0D108BD9-81ED-4DB2-BD59-A6C34878D82A}">
                    <a16:rowId xmlns:a16="http://schemas.microsoft.com/office/drawing/2014/main" val="3582921165"/>
                  </a:ext>
                </a:extLst>
              </a:tr>
            </a:tbl>
          </a:graphicData>
        </a:graphic>
      </p:graphicFrame>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Current Challenges and Risks</a:t>
            </a:r>
          </a:p>
        </p:txBody>
      </p:sp>
      <p:graphicFrame>
        <p:nvGraphicFramePr>
          <p:cNvPr id="6" name="Table 3">
            <a:extLst>
              <a:ext uri="{FF2B5EF4-FFF2-40B4-BE49-F238E27FC236}">
                <a16:creationId xmlns:a16="http://schemas.microsoft.com/office/drawing/2014/main" id="{33F16851-9271-4133-BD17-1532D22892B0}"/>
              </a:ext>
            </a:extLst>
          </p:cNvPr>
          <p:cNvGraphicFramePr>
            <a:graphicFrameLocks noGrp="1"/>
          </p:cNvGraphicFramePr>
          <p:nvPr>
            <p:extLst>
              <p:ext uri="{D42A27DB-BD31-4B8C-83A1-F6EECF244321}">
                <p14:modId xmlns:p14="http://schemas.microsoft.com/office/powerpoint/2010/main" val="776454769"/>
              </p:ext>
            </p:extLst>
          </p:nvPr>
        </p:nvGraphicFramePr>
        <p:xfrm>
          <a:off x="220980" y="3235478"/>
          <a:ext cx="8702040" cy="86304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226820">
                  <a:extLst>
                    <a:ext uri="{9D8B030D-6E8A-4147-A177-3AD203B41FA5}">
                      <a16:colId xmlns:a16="http://schemas.microsoft.com/office/drawing/2014/main" val="3548610838"/>
                    </a:ext>
                  </a:extLst>
                </a:gridCol>
                <a:gridCol w="6073140">
                  <a:extLst>
                    <a:ext uri="{9D8B030D-6E8A-4147-A177-3AD203B41FA5}">
                      <a16:colId xmlns:a16="http://schemas.microsoft.com/office/drawing/2014/main" val="733342129"/>
                    </a:ext>
                  </a:extLst>
                </a:gridCol>
                <a:gridCol w="1036320">
                  <a:extLst>
                    <a:ext uri="{9D8B030D-6E8A-4147-A177-3AD203B41FA5}">
                      <a16:colId xmlns:a16="http://schemas.microsoft.com/office/drawing/2014/main" val="1158180464"/>
                    </a:ext>
                  </a:extLst>
                </a:gridCol>
              </a:tblGrid>
              <a:tr h="205520">
                <a:tc>
                  <a:txBody>
                    <a:bodyPr/>
                    <a:lstStyle/>
                    <a:p>
                      <a:r>
                        <a:rPr lang="en-US" sz="1000">
                          <a:solidFill>
                            <a:schemeClr val="bg1"/>
                          </a:solidFill>
                        </a:rPr>
                        <a:t>#</a:t>
                      </a:r>
                    </a:p>
                  </a:txBody>
                  <a:tcPr/>
                </a:tc>
                <a:tc>
                  <a:txBody>
                    <a:bodyPr/>
                    <a:lstStyle/>
                    <a:p>
                      <a:r>
                        <a:rPr lang="en-US" sz="1000">
                          <a:solidFill>
                            <a:schemeClr val="bg1"/>
                          </a:solidFill>
                        </a:rPr>
                        <a:t>Risks</a:t>
                      </a:r>
                    </a:p>
                  </a:txBody>
                  <a:tcPr/>
                </a:tc>
                <a:tc>
                  <a:txBody>
                    <a:bodyPr/>
                    <a:lstStyle/>
                    <a:p>
                      <a:r>
                        <a:rPr lang="en-US" sz="1000">
                          <a:solidFill>
                            <a:schemeClr val="bg1"/>
                          </a:solidFill>
                        </a:rPr>
                        <a:t>Detail</a:t>
                      </a:r>
                    </a:p>
                  </a:txBody>
                  <a:tcPr/>
                </a:tc>
                <a:tc>
                  <a:txBody>
                    <a:bodyPr/>
                    <a:lstStyle/>
                    <a:p>
                      <a:r>
                        <a:rPr lang="en-US" sz="1000">
                          <a:solidFill>
                            <a:schemeClr val="bg1"/>
                          </a:solidFill>
                        </a:rPr>
                        <a:t>Status</a:t>
                      </a:r>
                    </a:p>
                  </a:txBody>
                  <a:tcPr/>
                </a:tc>
                <a:extLst>
                  <a:ext uri="{0D108BD9-81ED-4DB2-BD59-A6C34878D82A}">
                    <a16:rowId xmlns:a16="http://schemas.microsoft.com/office/drawing/2014/main" val="163652521"/>
                  </a:ext>
                </a:extLst>
              </a:tr>
              <a:tr h="325170">
                <a:tc>
                  <a:txBody>
                    <a:bodyPr/>
                    <a:lstStyle/>
                    <a:p>
                      <a:pPr algn="ctr"/>
                      <a:r>
                        <a:rPr lang="en-US" sz="1000" b="1">
                          <a:solidFill>
                            <a:srgbClr val="000000"/>
                          </a:solidFill>
                          <a:latin typeface="+mn-lt"/>
                        </a:rPr>
                        <a:t>1</a:t>
                      </a:r>
                    </a:p>
                  </a:txBody>
                  <a:tcPr marL="13500" marR="13500" marT="13500" marB="13500" anchor="ctr"/>
                </a:tc>
                <a:tc>
                  <a:txBody>
                    <a:bodyPr/>
                    <a:lstStyle/>
                    <a:p>
                      <a:pPr algn="l"/>
                      <a:r>
                        <a:rPr lang="en-US" sz="1000" b="1" i="0" u="none" kern="1200" spc="0">
                          <a:solidFill>
                            <a:srgbClr val="000000"/>
                          </a:solidFill>
                          <a:latin typeface="+mn-lt"/>
                          <a:ea typeface="+mn-ea"/>
                          <a:cs typeface="+mn-cs"/>
                        </a:rPr>
                        <a:t>Batch updates on source systems</a:t>
                      </a:r>
                    </a:p>
                  </a:txBody>
                  <a:tcPr marL="40500" marR="40500" marT="40500" marB="40500" anchor="ctr"/>
                </a:tc>
                <a:tc>
                  <a:txBody>
                    <a:bodyPr/>
                    <a:lstStyle/>
                    <a:p>
                      <a:pPr marL="60325" indent="0"/>
                      <a:r>
                        <a:rPr lang="en-US" sz="1000" b="0" i="0" u="none" kern="1200" spc="0">
                          <a:solidFill>
                            <a:srgbClr val="000000"/>
                          </a:solidFill>
                          <a:latin typeface="+mn-lt"/>
                          <a:ea typeface="+mn-ea"/>
                          <a:cs typeface="+mn-cs"/>
                        </a:rPr>
                        <a:t>Can this be avoided updating real time?, redesigning the source batch updates? or we </a:t>
                      </a:r>
                      <a:r>
                        <a:rPr lang="en-US" sz="1000" b="0" i="0" u="none" kern="1200" spc="0" dirty="0">
                          <a:solidFill>
                            <a:srgbClr val="000000"/>
                          </a:solidFill>
                          <a:latin typeface="+mn-lt"/>
                          <a:ea typeface="+mn-ea"/>
                          <a:cs typeface="+mn-cs"/>
                        </a:rPr>
                        <a:t>have to live with current batch updates</a:t>
                      </a:r>
                    </a:p>
                  </a:txBody>
                  <a:tcPr marL="40500" marR="40500" marT="40500" marB="40500" anchor="ctr"/>
                </a:tc>
                <a:tc>
                  <a:txBody>
                    <a:bodyPr/>
                    <a:lstStyle/>
                    <a:p>
                      <a:pPr marL="6477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Open</a:t>
                      </a:r>
                    </a:p>
                  </a:txBody>
                  <a:tcPr marL="40500" marR="40500" marT="40500" marB="40500"/>
                </a:tc>
                <a:extLst>
                  <a:ext uri="{0D108BD9-81ED-4DB2-BD59-A6C34878D82A}">
                    <a16:rowId xmlns:a16="http://schemas.microsoft.com/office/drawing/2014/main" val="4222057156"/>
                  </a:ext>
                </a:extLst>
              </a:tr>
              <a:tr h="0">
                <a:tc>
                  <a:txBody>
                    <a:bodyPr/>
                    <a:lstStyle/>
                    <a:p>
                      <a:pPr algn="ctr"/>
                      <a:endParaRPr lang="en-US" sz="1000" b="1">
                        <a:solidFill>
                          <a:srgbClr val="000000"/>
                        </a:solidFill>
                        <a:latin typeface="+mn-lt"/>
                      </a:endParaRPr>
                    </a:p>
                  </a:txBody>
                  <a:tcPr marL="13500" marR="13500" marT="13500" marB="13500"/>
                </a:tc>
                <a:tc>
                  <a:txBody>
                    <a:bodyPr/>
                    <a:lstStyle/>
                    <a:p>
                      <a:pPr algn="l"/>
                      <a:endParaRPr lang="en-US" sz="1000" b="1">
                        <a:solidFill>
                          <a:srgbClr val="000000"/>
                        </a:solidFill>
                        <a:latin typeface="+mn-lt"/>
                      </a:endParaRP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000" kern="1200">
                        <a:solidFill>
                          <a:srgbClr val="000000"/>
                        </a:solidFill>
                        <a:effectLst/>
                        <a:latin typeface="+mn-lt"/>
                        <a:ea typeface="+mn-ea"/>
                        <a:cs typeface="+mn-cs"/>
                      </a:endParaRP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000" kern="1200">
                        <a:solidFill>
                          <a:srgbClr val="000000"/>
                        </a:solidFill>
                        <a:effectLst/>
                        <a:latin typeface="+mn-lt"/>
                        <a:ea typeface="+mn-ea"/>
                        <a:cs typeface="+mn-cs"/>
                      </a:endParaRPr>
                    </a:p>
                  </a:txBody>
                  <a:tcPr marL="40500" marR="40500" marT="40500" marB="40500"/>
                </a:tc>
                <a:extLst>
                  <a:ext uri="{0D108BD9-81ED-4DB2-BD59-A6C34878D82A}">
                    <a16:rowId xmlns:a16="http://schemas.microsoft.com/office/drawing/2014/main" val="3343480495"/>
                  </a:ext>
                </a:extLst>
              </a:tr>
            </a:tbl>
          </a:graphicData>
        </a:graphic>
      </p:graphicFrame>
    </p:spTree>
    <p:extLst>
      <p:ext uri="{BB962C8B-B14F-4D97-AF65-F5344CB8AC3E}">
        <p14:creationId xmlns:p14="http://schemas.microsoft.com/office/powerpoint/2010/main" val="3248382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63D42FF-A5ED-4690-B49C-C5F9A1E885B1}"/>
              </a:ext>
            </a:extLst>
          </p:cNvPr>
          <p:cNvSpPr txBox="1">
            <a:spLocks/>
          </p:cNvSpPr>
          <p:nvPr/>
        </p:nvSpPr>
        <p:spPr bwMode="auto">
          <a:xfrm>
            <a:off x="108102" y="45391"/>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Future Architecture</a:t>
            </a:r>
          </a:p>
        </p:txBody>
      </p:sp>
      <p:pic>
        <p:nvPicPr>
          <p:cNvPr id="2" name="Picture 2" descr="Graphical user interface, diagram, application&#10;&#10;Description automatically generated">
            <a:extLst>
              <a:ext uri="{FF2B5EF4-FFF2-40B4-BE49-F238E27FC236}">
                <a16:creationId xmlns:a16="http://schemas.microsoft.com/office/drawing/2014/main" id="{B1A66D62-5600-4916-A855-7D2A0749D966}"/>
              </a:ext>
            </a:extLst>
          </p:cNvPr>
          <p:cNvPicPr>
            <a:picLocks noChangeAspect="1"/>
          </p:cNvPicPr>
          <p:nvPr/>
        </p:nvPicPr>
        <p:blipFill>
          <a:blip r:embed="rId2"/>
          <a:stretch>
            <a:fillRect/>
          </a:stretch>
        </p:blipFill>
        <p:spPr>
          <a:xfrm>
            <a:off x="414337" y="383269"/>
            <a:ext cx="8145661" cy="4376961"/>
          </a:xfrm>
          <a:prstGeom prst="rect">
            <a:avLst/>
          </a:prstGeom>
        </p:spPr>
      </p:pic>
    </p:spTree>
    <p:extLst>
      <p:ext uri="{BB962C8B-B14F-4D97-AF65-F5344CB8AC3E}">
        <p14:creationId xmlns:p14="http://schemas.microsoft.com/office/powerpoint/2010/main" val="504449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1410629434"/>
              </p:ext>
            </p:extLst>
          </p:nvPr>
        </p:nvGraphicFramePr>
        <p:xfrm>
          <a:off x="106405" y="512927"/>
          <a:ext cx="8851479" cy="4450080"/>
        </p:xfrm>
        <a:graphic>
          <a:graphicData uri="http://schemas.openxmlformats.org/drawingml/2006/table">
            <a:tbl>
              <a:tblPr firstRow="1" bandRow="1">
                <a:tableStyleId>{5C22544A-7EE6-4342-B048-85BDC9FD1C3A}</a:tableStyleId>
              </a:tblPr>
              <a:tblGrid>
                <a:gridCol w="937468">
                  <a:extLst>
                    <a:ext uri="{9D8B030D-6E8A-4147-A177-3AD203B41FA5}">
                      <a16:colId xmlns:a16="http://schemas.microsoft.com/office/drawing/2014/main" val="2334813724"/>
                    </a:ext>
                  </a:extLst>
                </a:gridCol>
                <a:gridCol w="2498774">
                  <a:extLst>
                    <a:ext uri="{9D8B030D-6E8A-4147-A177-3AD203B41FA5}">
                      <a16:colId xmlns:a16="http://schemas.microsoft.com/office/drawing/2014/main" val="3548610838"/>
                    </a:ext>
                  </a:extLst>
                </a:gridCol>
                <a:gridCol w="2534595">
                  <a:extLst>
                    <a:ext uri="{9D8B030D-6E8A-4147-A177-3AD203B41FA5}">
                      <a16:colId xmlns:a16="http://schemas.microsoft.com/office/drawing/2014/main" val="3523463392"/>
                    </a:ext>
                  </a:extLst>
                </a:gridCol>
                <a:gridCol w="2880642">
                  <a:extLst>
                    <a:ext uri="{9D8B030D-6E8A-4147-A177-3AD203B41FA5}">
                      <a16:colId xmlns:a16="http://schemas.microsoft.com/office/drawing/2014/main" val="752791419"/>
                    </a:ext>
                  </a:extLst>
                </a:gridCol>
              </a:tblGrid>
              <a:tr h="284702">
                <a:tc>
                  <a:txBody>
                    <a:bodyPr/>
                    <a:lstStyle/>
                    <a:p>
                      <a:pPr algn="l"/>
                      <a:endParaRPr lang="en-US" sz="1400" dirty="0">
                        <a:solidFill>
                          <a:schemeClr val="bg1"/>
                        </a:solidFill>
                        <a:latin typeface="+mj-lt"/>
                      </a:endParaRPr>
                    </a:p>
                  </a:txBody>
                  <a:tcPr/>
                </a:tc>
                <a:tc>
                  <a:txBody>
                    <a:bodyPr/>
                    <a:lstStyle/>
                    <a:p>
                      <a:pPr marL="0" marR="0" algn="l">
                        <a:spcBef>
                          <a:spcPts val="0"/>
                        </a:spcBef>
                        <a:spcAft>
                          <a:spcPts val="0"/>
                        </a:spcAft>
                      </a:pPr>
                      <a:r>
                        <a:rPr lang="en-US" sz="1400" b="1" dirty="0">
                          <a:solidFill>
                            <a:schemeClr val="bg1"/>
                          </a:solidFill>
                          <a:effectLst/>
                          <a:latin typeface="+mj-lt"/>
                          <a:ea typeface="Calibri" panose="020F0502020204030204" pitchFamily="34" charset="0"/>
                        </a:rPr>
                        <a:t>HVR (</a:t>
                      </a:r>
                      <a:r>
                        <a:rPr lang="en-US" sz="1200" b="0" i="0" dirty="0" err="1">
                          <a:solidFill>
                            <a:schemeClr val="lt1"/>
                          </a:solidFill>
                          <a:effectLst/>
                          <a:latin typeface="+mn-lt"/>
                          <a:ea typeface="+mn-ea"/>
                          <a:cs typeface="+mn-cs"/>
                        </a:rPr>
                        <a:t>Fivetran</a:t>
                      </a:r>
                      <a:r>
                        <a:rPr lang="en-US" sz="1400" b="1" dirty="0">
                          <a:solidFill>
                            <a:schemeClr val="bg1"/>
                          </a:solidFill>
                          <a:effectLst/>
                          <a:latin typeface="+mj-lt"/>
                          <a:ea typeface="Calibri" panose="020F0502020204030204" pitchFamily="34" charset="0"/>
                        </a:rPr>
                        <a:t>)</a:t>
                      </a:r>
                      <a:endParaRPr lang="en-US" sz="1400" dirty="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dirty="0">
                          <a:solidFill>
                            <a:schemeClr val="bg1"/>
                          </a:solidFill>
                          <a:effectLst/>
                          <a:latin typeface="+mj-lt"/>
                          <a:ea typeface="Calibri" panose="020F0502020204030204" pitchFamily="34" charset="0"/>
                        </a:rPr>
                        <a:t>Qlik Replicate</a:t>
                      </a:r>
                      <a:r>
                        <a:rPr lang="en-US" sz="1200" b="1" dirty="0">
                          <a:solidFill>
                            <a:schemeClr val="lt1"/>
                          </a:solidFill>
                          <a:effectLst/>
                          <a:latin typeface="+mn-lt"/>
                          <a:ea typeface="+mn-ea"/>
                          <a:cs typeface="+mn-cs"/>
                        </a:rPr>
                        <a:t> </a:t>
                      </a:r>
                      <a:endParaRPr lang="en-US" sz="1400" dirty="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dirty="0">
                          <a:solidFill>
                            <a:schemeClr val="bg1"/>
                          </a:solidFill>
                          <a:effectLst/>
                          <a:latin typeface="+mj-lt"/>
                          <a:ea typeface="Calibri" panose="020F0502020204030204" pitchFamily="34" charset="0"/>
                          <a:cs typeface="+mn-cs"/>
                        </a:rPr>
                        <a:t>IBM infosphere CDC Data Replication</a:t>
                      </a:r>
                    </a:p>
                  </a:txBody>
                  <a:tcPr marL="68580" marR="68580" marT="0" marB="0"/>
                </a:tc>
                <a:extLst>
                  <a:ext uri="{0D108BD9-81ED-4DB2-BD59-A6C34878D82A}">
                    <a16:rowId xmlns:a16="http://schemas.microsoft.com/office/drawing/2014/main" val="163652521"/>
                  </a:ext>
                </a:extLst>
              </a:tr>
              <a:tr h="786625">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Description</a:t>
                      </a:r>
                    </a:p>
                  </a:txBody>
                  <a:tcPr marL="68580" marR="68580" marT="0" marB="0"/>
                </a:tc>
                <a:tc>
                  <a:txBody>
                    <a:bodyPr/>
                    <a:lstStyle/>
                    <a:p>
                      <a:pPr marL="0" marR="0">
                        <a:spcBef>
                          <a:spcPts val="0"/>
                        </a:spcBef>
                        <a:spcAft>
                          <a:spcPts val="0"/>
                        </a:spcAft>
                      </a:pPr>
                      <a:r>
                        <a:rPr lang="en-US" sz="1100" b="0" dirty="0">
                          <a:solidFill>
                            <a:schemeClr val="tx1">
                              <a:lumMod val="50000"/>
                            </a:schemeClr>
                          </a:solidFill>
                          <a:effectLst/>
                          <a:latin typeface="+mj-lt"/>
                          <a:ea typeface="Calibri" panose="020F0502020204030204" pitchFamily="34" charset="0"/>
                        </a:rPr>
                        <a:t>A lightweight agent installed on each DB2z server.  An HRV hub is installed on a separate VM that has the configuration </a:t>
                      </a:r>
                      <a:r>
                        <a:rPr lang="en-US" sz="1100" b="0" dirty="0" err="1">
                          <a:solidFill>
                            <a:schemeClr val="tx1">
                              <a:lumMod val="50000"/>
                            </a:schemeClr>
                          </a:solidFill>
                          <a:effectLst/>
                          <a:latin typeface="+mj-lt"/>
                          <a:ea typeface="Calibri" panose="020F0502020204030204" pitchFamily="34" charset="0"/>
                        </a:rPr>
                        <a:t>metatdata</a:t>
                      </a:r>
                      <a:r>
                        <a:rPr lang="en-US" sz="1100" b="0" dirty="0">
                          <a:solidFill>
                            <a:schemeClr val="tx1">
                              <a:lumMod val="50000"/>
                            </a:schemeClr>
                          </a:solidFill>
                          <a:effectLst/>
                          <a:latin typeface="+mj-lt"/>
                          <a:ea typeface="Calibri" panose="020F0502020204030204" pitchFamily="34" charset="0"/>
                        </a:rPr>
                        <a:t>.  An agent reads data from DB2z transaction logs and in real to near real-time loads data to target external database.  There also an API based CDC functionality available via MQ.</a:t>
                      </a:r>
                    </a:p>
                  </a:txBody>
                  <a:tcPr marL="68580" marR="68580" marT="0" marB="0"/>
                </a:tc>
                <a:tc>
                  <a:txBody>
                    <a:bodyPr/>
                    <a:lstStyle/>
                    <a:p>
                      <a:pPr marL="0" marR="0">
                        <a:spcBef>
                          <a:spcPts val="0"/>
                        </a:spcBef>
                        <a:spcAft>
                          <a:spcPts val="0"/>
                        </a:spcAft>
                      </a:pPr>
                      <a:r>
                        <a:rPr lang="en-US" sz="1100" b="0" dirty="0">
                          <a:solidFill>
                            <a:schemeClr val="tx1">
                              <a:lumMod val="50000"/>
                            </a:schemeClr>
                          </a:solidFill>
                          <a:effectLst/>
                          <a:latin typeface="+mj-lt"/>
                          <a:ea typeface="Calibri" panose="020F0502020204030204" pitchFamily="34" charset="0"/>
                        </a:rPr>
                        <a:t>A </a:t>
                      </a:r>
                      <a:r>
                        <a:rPr lang="en-US" sz="1100" b="0" dirty="0">
                          <a:solidFill>
                            <a:schemeClr val="tx1">
                              <a:lumMod val="50000"/>
                            </a:schemeClr>
                          </a:solidFill>
                          <a:effectLst/>
                          <a:latin typeface="+mn-lt"/>
                          <a:ea typeface="Calibri" panose="020F0502020204030204" pitchFamily="34" charset="0"/>
                          <a:cs typeface="+mn-cs"/>
                        </a:rPr>
                        <a:t>lightweight </a:t>
                      </a:r>
                      <a:r>
                        <a:rPr lang="en-US" sz="1100" b="0" dirty="0">
                          <a:solidFill>
                            <a:schemeClr val="tx1">
                              <a:lumMod val="50000"/>
                            </a:schemeClr>
                          </a:solidFill>
                          <a:effectLst/>
                          <a:latin typeface="+mj-lt"/>
                          <a:ea typeface="Calibri" panose="020F0502020204030204" pitchFamily="34" charset="0"/>
                        </a:rPr>
                        <a:t>database package called User Defined Table (UDT) function is installed on DB2 that acts as a CDC agent.  A Qlik hub/repository is installed on VM closed to DB2z </a:t>
                      </a:r>
                      <a:r>
                        <a:rPr lang="en-US" sz="1100" b="0" dirty="0">
                          <a:solidFill>
                            <a:schemeClr val="tx1">
                              <a:lumMod val="50000"/>
                            </a:schemeClr>
                          </a:solidFill>
                          <a:effectLst/>
                          <a:latin typeface="+mn-lt"/>
                          <a:ea typeface="Calibri" panose="020F0502020204030204" pitchFamily="34" charset="0"/>
                          <a:cs typeface="+mn-cs"/>
                        </a:rPr>
                        <a:t>that has the configuration </a:t>
                      </a:r>
                      <a:r>
                        <a:rPr lang="en-US" sz="1100" b="0" dirty="0" err="1">
                          <a:solidFill>
                            <a:schemeClr val="tx1">
                              <a:lumMod val="50000"/>
                            </a:schemeClr>
                          </a:solidFill>
                          <a:effectLst/>
                          <a:latin typeface="+mn-lt"/>
                          <a:ea typeface="Calibri" panose="020F0502020204030204" pitchFamily="34" charset="0"/>
                          <a:cs typeface="+mn-cs"/>
                        </a:rPr>
                        <a:t>metatdata</a:t>
                      </a:r>
                      <a:r>
                        <a:rPr lang="en-US" sz="1100" b="0" dirty="0">
                          <a:solidFill>
                            <a:schemeClr val="tx1">
                              <a:lumMod val="50000"/>
                            </a:schemeClr>
                          </a:solidFill>
                          <a:effectLst/>
                          <a:latin typeface="+mj-lt"/>
                          <a:ea typeface="Calibri" panose="020F0502020204030204" pitchFamily="34" charset="0"/>
                        </a:rPr>
                        <a:t>.  An agent reads data from DB2 transaction logs via API and in real to near real-time loads data to target external database.  There is no API based CDC functionality available.</a:t>
                      </a:r>
                    </a:p>
                  </a:txBody>
                  <a:tcPr marL="68580" marR="68580" marT="0" marB="0"/>
                </a:tc>
                <a:tc>
                  <a:txBody>
                    <a:bodyPr/>
                    <a:lstStyle/>
                    <a:p>
                      <a:pPr marL="0" marR="0" lvl="0" indent="0" algn="l" defTabSz="914400" rtl="0" eaLnBrk="1" fontAlgn="base" latinLnBrk="0" hangingPunct="1">
                        <a:lnSpc>
                          <a:spcPct val="100000"/>
                        </a:lnSpc>
                        <a:spcBef>
                          <a:spcPts val="0"/>
                        </a:spcBef>
                        <a:spcAft>
                          <a:spcPts val="0"/>
                        </a:spcAft>
                        <a:buClr>
                          <a:schemeClr val="tx1"/>
                        </a:buClr>
                        <a:buSzTx/>
                        <a:buFontTx/>
                        <a:buNone/>
                        <a:tabLst/>
                        <a:defRPr/>
                      </a:pPr>
                      <a:r>
                        <a:rPr lang="en-US" sz="1100" b="0" dirty="0">
                          <a:solidFill>
                            <a:schemeClr val="tx1">
                              <a:lumMod val="50000"/>
                            </a:schemeClr>
                          </a:solidFill>
                          <a:effectLst/>
                          <a:latin typeface="+mj-lt"/>
                          <a:ea typeface="Calibri" panose="020F0502020204030204" pitchFamily="34" charset="0"/>
                        </a:rPr>
                        <a:t>Either IBM CDC Native </a:t>
                      </a:r>
                      <a:r>
                        <a:rPr lang="en-US" sz="1100" b="0" dirty="0" err="1">
                          <a:solidFill>
                            <a:schemeClr val="tx1">
                              <a:lumMod val="50000"/>
                            </a:schemeClr>
                          </a:solidFill>
                          <a:effectLst/>
                          <a:latin typeface="+mj-lt"/>
                          <a:ea typeface="Calibri" panose="020F0502020204030204" pitchFamily="34" charset="0"/>
                        </a:rPr>
                        <a:t>zOS</a:t>
                      </a:r>
                      <a:r>
                        <a:rPr lang="en-US" sz="1100" b="0" dirty="0">
                          <a:solidFill>
                            <a:schemeClr val="tx1">
                              <a:lumMod val="50000"/>
                            </a:schemeClr>
                          </a:solidFill>
                          <a:effectLst/>
                          <a:latin typeface="+mj-lt"/>
                          <a:ea typeface="Calibri" panose="020F0502020204030204" pitchFamily="34" charset="0"/>
                        </a:rPr>
                        <a:t> or IBM CDC Remote Source Engine. </a:t>
                      </a:r>
                      <a:r>
                        <a:rPr lang="en-US" sz="1100" b="0" dirty="0">
                          <a:solidFill>
                            <a:schemeClr val="tx1">
                              <a:lumMod val="50000"/>
                            </a:schemeClr>
                          </a:solidFill>
                          <a:effectLst/>
                          <a:latin typeface="+mn-lt"/>
                          <a:ea typeface="Calibri" panose="020F0502020204030204" pitchFamily="34" charset="0"/>
                          <a:cs typeface="+mn-cs"/>
                        </a:rPr>
                        <a:t>.  A hub/repository is installed on VM closed to DB2z that has the configuration </a:t>
                      </a:r>
                      <a:r>
                        <a:rPr lang="en-US" sz="1100" b="0" dirty="0" err="1">
                          <a:solidFill>
                            <a:schemeClr val="tx1">
                              <a:lumMod val="50000"/>
                            </a:schemeClr>
                          </a:solidFill>
                          <a:effectLst/>
                          <a:latin typeface="+mn-lt"/>
                          <a:ea typeface="Calibri" panose="020F0502020204030204" pitchFamily="34" charset="0"/>
                          <a:cs typeface="+mn-cs"/>
                        </a:rPr>
                        <a:t>metatdata</a:t>
                      </a:r>
                      <a:r>
                        <a:rPr lang="en-US" sz="1100" b="0" dirty="0">
                          <a:solidFill>
                            <a:schemeClr val="tx1">
                              <a:lumMod val="50000"/>
                            </a:schemeClr>
                          </a:solidFill>
                          <a:effectLst/>
                          <a:latin typeface="+mn-lt"/>
                          <a:ea typeface="Calibri" panose="020F0502020204030204" pitchFamily="34" charset="0"/>
                          <a:cs typeface="+mn-cs"/>
                        </a:rPr>
                        <a:t>. </a:t>
                      </a:r>
                      <a:r>
                        <a:rPr lang="en-US" sz="1100" b="0" dirty="0">
                          <a:solidFill>
                            <a:schemeClr val="tx1">
                              <a:lumMod val="50000"/>
                            </a:schemeClr>
                          </a:solidFill>
                          <a:effectLst/>
                          <a:latin typeface="+mj-lt"/>
                          <a:ea typeface="Calibri" panose="020F0502020204030204" pitchFamily="34" charset="0"/>
                        </a:rPr>
                        <a:t>An agent reads data from DB2 transaction logs via API and in real to near real-time loads data to target external database.  </a:t>
                      </a:r>
                    </a:p>
                  </a:txBody>
                  <a:tcPr marL="68580" marR="68580" marT="0" marB="0"/>
                </a:tc>
                <a:extLst>
                  <a:ext uri="{0D108BD9-81ED-4DB2-BD59-A6C34878D82A}">
                    <a16:rowId xmlns:a16="http://schemas.microsoft.com/office/drawing/2014/main" val="4222057156"/>
                  </a:ext>
                </a:extLst>
              </a:tr>
              <a:tr h="524417">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Replication Pattern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a:solidFill>
                            <a:schemeClr val="tx1">
                              <a:lumMod val="50000"/>
                            </a:schemeClr>
                          </a:solidFill>
                          <a:latin typeface="+mj-lt"/>
                          <a:ea typeface="+mn-ea"/>
                          <a:cs typeface="+mn-cs"/>
                        </a:rPr>
                        <a:t>DB2z Logs -&gt; Snowflake (latency in minut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a:solidFill>
                            <a:schemeClr val="tx1">
                              <a:lumMod val="50000"/>
                            </a:schemeClr>
                          </a:solidFill>
                          <a:latin typeface="+mj-lt"/>
                          <a:ea typeface="+mn-ea"/>
                          <a:cs typeface="+mn-cs"/>
                        </a:rPr>
                        <a:t>DB2z Logs -&gt; MQ -&gt; Snowflake/Reltio (latency in minute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a:solidFill>
                            <a:schemeClr val="tx1">
                              <a:lumMod val="50000"/>
                            </a:schemeClr>
                          </a:solidFill>
                          <a:latin typeface="+mj-lt"/>
                          <a:ea typeface="+mn-ea"/>
                          <a:cs typeface="+mn-cs"/>
                        </a:rPr>
                        <a:t>DB2z Logs -&gt; Snowflake (latency in minute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a:solidFill>
                            <a:schemeClr val="tx1">
                              <a:lumMod val="50000"/>
                            </a:schemeClr>
                          </a:solidFill>
                          <a:latin typeface="+mj-lt"/>
                          <a:ea typeface="+mn-ea"/>
                          <a:cs typeface="+mn-cs"/>
                        </a:rPr>
                        <a:t>DB2z Logs -&gt; Kafka -&gt; API / Snowflake (latency in second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a:solidFill>
                            <a:schemeClr val="tx1">
                              <a:lumMod val="50000"/>
                            </a:schemeClr>
                          </a:solidFill>
                          <a:latin typeface="+mj-lt"/>
                          <a:ea typeface="+mn-ea"/>
                          <a:cs typeface="+mn-cs"/>
                        </a:rPr>
                        <a:t>DB2z Logs -&gt; flat file -&gt; </a:t>
                      </a:r>
                      <a:r>
                        <a:rPr lang="en-US" sz="1100" b="0" i="0" u="none" strike="noStrike" kern="1200" spc="0" err="1">
                          <a:solidFill>
                            <a:schemeClr val="tx1">
                              <a:lumMod val="50000"/>
                            </a:schemeClr>
                          </a:solidFill>
                          <a:latin typeface="+mj-lt"/>
                          <a:ea typeface="+mn-ea"/>
                          <a:cs typeface="+mn-cs"/>
                        </a:rPr>
                        <a:t>SnowPipe</a:t>
                      </a:r>
                      <a:r>
                        <a:rPr lang="en-US" sz="1100" b="0" i="0" u="none" strike="noStrike" kern="1200" spc="0">
                          <a:solidFill>
                            <a:schemeClr val="tx1">
                              <a:lumMod val="50000"/>
                            </a:schemeClr>
                          </a:solidFill>
                          <a:latin typeface="+mj-lt"/>
                          <a:ea typeface="+mn-ea"/>
                          <a:cs typeface="+mn-cs"/>
                        </a:rPr>
                        <a:t> / Snowflake  (latency in minut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a:solidFill>
                            <a:schemeClr val="tx1">
                              <a:lumMod val="50000"/>
                            </a:schemeClr>
                          </a:solidFill>
                          <a:latin typeface="+mj-lt"/>
                          <a:ea typeface="+mn-ea"/>
                          <a:cs typeface="+mn-cs"/>
                        </a:rPr>
                        <a:t>DB2z Logs -&gt; DataStage/Matillion/ETL -&gt; Snowflake (latency in minutes)</a:t>
                      </a:r>
                    </a:p>
                  </a:txBody>
                  <a:tcPr marL="68580" marR="68580" marT="0" marB="0"/>
                </a:tc>
                <a:extLst>
                  <a:ext uri="{0D108BD9-81ED-4DB2-BD59-A6C34878D82A}">
                    <a16:rowId xmlns:a16="http://schemas.microsoft.com/office/drawing/2014/main" val="3343480495"/>
                  </a:ext>
                </a:extLst>
              </a:tr>
              <a:tr h="349611">
                <a:tc>
                  <a:txBody>
                    <a:bodyPr/>
                    <a:lstStyle/>
                    <a:p>
                      <a:pPr marL="0" marR="0">
                        <a:spcBef>
                          <a:spcPts val="0"/>
                        </a:spcBef>
                        <a:spcAft>
                          <a:spcPts val="0"/>
                        </a:spcAft>
                      </a:pPr>
                      <a:r>
                        <a:rPr lang="en-US" sz="1100" dirty="0">
                          <a:solidFill>
                            <a:schemeClr val="tx1">
                              <a:lumMod val="50000"/>
                            </a:schemeClr>
                          </a:solidFill>
                          <a:effectLst/>
                          <a:latin typeface="+mj-lt"/>
                          <a:ea typeface="Calibri" panose="020F0502020204030204" pitchFamily="34" charset="0"/>
                        </a:rPr>
                        <a:t>Cost</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License by each source and each target database </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n-lt"/>
                          <a:ea typeface="+mn-ea"/>
                          <a:cs typeface="+mn-cs"/>
                        </a:rPr>
                        <a:t>Estimated around </a:t>
                      </a:r>
                      <a:r>
                        <a:rPr lang="en-US" sz="1100" b="1" i="0" u="none" strike="noStrike" kern="1200" spc="0" noProof="0" dirty="0">
                          <a:solidFill>
                            <a:schemeClr val="tx1">
                              <a:lumMod val="50000"/>
                            </a:schemeClr>
                          </a:solidFill>
                          <a:latin typeface="+mn-lt"/>
                          <a:ea typeface="+mn-ea"/>
                          <a:cs typeface="+mn-cs"/>
                        </a:rPr>
                        <a:t>150K per year with </a:t>
                      </a:r>
                      <a:r>
                        <a:rPr lang="en-US" sz="1100" b="0" i="0" u="none" strike="noStrike" kern="1200" spc="0" noProof="0" dirty="0">
                          <a:solidFill>
                            <a:schemeClr val="tx1">
                              <a:lumMod val="50000"/>
                            </a:schemeClr>
                          </a:solidFill>
                          <a:latin typeface="+mn-lt"/>
                          <a:ea typeface="+mn-ea"/>
                          <a:cs typeface="+mn-cs"/>
                        </a:rPr>
                        <a:t>3 years commitment (Includes training and support)</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Additional cost for Azure VM and database for Hub</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License by each source, Source server cores,  each target database </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n-lt"/>
                          <a:ea typeface="+mn-ea"/>
                          <a:cs typeface="+mn-cs"/>
                        </a:rPr>
                        <a:t>Estimated around </a:t>
                      </a:r>
                      <a:r>
                        <a:rPr lang="en-US" sz="1100" b="1" i="0" u="none" strike="noStrike" kern="1200" spc="0" noProof="0" dirty="0">
                          <a:solidFill>
                            <a:schemeClr val="tx1">
                              <a:lumMod val="50000"/>
                            </a:schemeClr>
                          </a:solidFill>
                          <a:latin typeface="+mn-lt"/>
                          <a:ea typeface="+mn-ea"/>
                          <a:cs typeface="+mn-cs"/>
                        </a:rPr>
                        <a:t>100K </a:t>
                      </a:r>
                      <a:r>
                        <a:rPr lang="en-US" sz="1100" b="0" i="0" u="none" strike="noStrike" kern="1200" spc="0" noProof="0" dirty="0">
                          <a:solidFill>
                            <a:schemeClr val="tx1">
                              <a:lumMod val="50000"/>
                            </a:schemeClr>
                          </a:solidFill>
                          <a:latin typeface="+mn-lt"/>
                          <a:ea typeface="+mn-ea"/>
                          <a:cs typeface="+mn-cs"/>
                        </a:rPr>
                        <a:t>with 3 years commitment (includes 120 hours of training and support)</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Additional cost for VM for Hub</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License by each source MIPs</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Annual estimated cost around </a:t>
                      </a:r>
                      <a:r>
                        <a:rPr lang="en-US" sz="1100" b="1" i="0" u="none" strike="noStrike" kern="1200" spc="0" noProof="0" dirty="0">
                          <a:solidFill>
                            <a:schemeClr val="tx1">
                              <a:lumMod val="50000"/>
                            </a:schemeClr>
                          </a:solidFill>
                          <a:latin typeface="+mj-lt"/>
                          <a:ea typeface="+mn-ea"/>
                          <a:cs typeface="+mn-cs"/>
                        </a:rPr>
                        <a:t>325K </a:t>
                      </a:r>
                      <a:r>
                        <a:rPr lang="en-US" sz="1100" b="0" i="0" u="none" strike="noStrike" kern="1200" spc="0" noProof="0" dirty="0">
                          <a:solidFill>
                            <a:schemeClr val="tx1">
                              <a:lumMod val="50000"/>
                            </a:schemeClr>
                          </a:solidFill>
                          <a:latin typeface="+mj-lt"/>
                          <a:ea typeface="+mn-ea"/>
                          <a:cs typeface="+mn-cs"/>
                        </a:rPr>
                        <a:t>with 3 years commitment</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Additional cost for VM for CDC engine </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Possibly additional cost for Kafka</a:t>
                      </a:r>
                      <a:endParaRPr lang="en-US" sz="1100" dirty="0">
                        <a:latin typeface="+mj-lt"/>
                      </a:endParaRPr>
                    </a:p>
                  </a:txBody>
                  <a:tcPr marL="68580" marR="68580" marT="0" marB="0"/>
                </a:tc>
                <a:extLst>
                  <a:ext uri="{0D108BD9-81ED-4DB2-BD59-A6C34878D82A}">
                    <a16:rowId xmlns:a16="http://schemas.microsoft.com/office/drawing/2014/main" val="1602825462"/>
                  </a:ext>
                </a:extLst>
              </a:tr>
            </a:tbl>
          </a:graphicData>
        </a:graphic>
      </p:graphicFrame>
    </p:spTree>
    <p:extLst>
      <p:ext uri="{BB962C8B-B14F-4D97-AF65-F5344CB8AC3E}">
        <p14:creationId xmlns:p14="http://schemas.microsoft.com/office/powerpoint/2010/main" val="3947106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4008711309"/>
              </p:ext>
            </p:extLst>
          </p:nvPr>
        </p:nvGraphicFramePr>
        <p:xfrm>
          <a:off x="106405" y="512927"/>
          <a:ext cx="8851479" cy="3488315"/>
        </p:xfrm>
        <a:graphic>
          <a:graphicData uri="http://schemas.openxmlformats.org/drawingml/2006/table">
            <a:tbl>
              <a:tblPr firstRow="1" bandRow="1">
                <a:tableStyleId>{5C22544A-7EE6-4342-B048-85BDC9FD1C3A}</a:tableStyleId>
              </a:tblPr>
              <a:tblGrid>
                <a:gridCol w="994112">
                  <a:extLst>
                    <a:ext uri="{9D8B030D-6E8A-4147-A177-3AD203B41FA5}">
                      <a16:colId xmlns:a16="http://schemas.microsoft.com/office/drawing/2014/main" val="2334813724"/>
                    </a:ext>
                  </a:extLst>
                </a:gridCol>
                <a:gridCol w="2442130">
                  <a:extLst>
                    <a:ext uri="{9D8B030D-6E8A-4147-A177-3AD203B41FA5}">
                      <a16:colId xmlns:a16="http://schemas.microsoft.com/office/drawing/2014/main" val="3548610838"/>
                    </a:ext>
                  </a:extLst>
                </a:gridCol>
                <a:gridCol w="2534595">
                  <a:extLst>
                    <a:ext uri="{9D8B030D-6E8A-4147-A177-3AD203B41FA5}">
                      <a16:colId xmlns:a16="http://schemas.microsoft.com/office/drawing/2014/main" val="3523463392"/>
                    </a:ext>
                  </a:extLst>
                </a:gridCol>
                <a:gridCol w="2880642">
                  <a:extLst>
                    <a:ext uri="{9D8B030D-6E8A-4147-A177-3AD203B41FA5}">
                      <a16:colId xmlns:a16="http://schemas.microsoft.com/office/drawing/2014/main" val="752791419"/>
                    </a:ext>
                  </a:extLst>
                </a:gridCol>
              </a:tblGrid>
              <a:tr h="284702">
                <a:tc>
                  <a:txBody>
                    <a:bodyPr/>
                    <a:lstStyle/>
                    <a:p>
                      <a:pPr algn="l"/>
                      <a:endParaRPr lang="en-US" sz="1400" dirty="0">
                        <a:solidFill>
                          <a:schemeClr val="bg1"/>
                        </a:solidFill>
                        <a:latin typeface="+mj-lt"/>
                      </a:endParaRPr>
                    </a:p>
                  </a:txBody>
                  <a:tcPr/>
                </a:tc>
                <a:tc>
                  <a:txBody>
                    <a:bodyPr/>
                    <a:lstStyle/>
                    <a:p>
                      <a:pPr marL="0" marR="0" algn="l">
                        <a:spcBef>
                          <a:spcPts val="0"/>
                        </a:spcBef>
                        <a:spcAft>
                          <a:spcPts val="0"/>
                        </a:spcAft>
                      </a:pPr>
                      <a:r>
                        <a:rPr lang="en-US" sz="1400" b="1" dirty="0">
                          <a:solidFill>
                            <a:schemeClr val="bg1"/>
                          </a:solidFill>
                          <a:effectLst/>
                          <a:latin typeface="+mj-lt"/>
                          <a:ea typeface="Calibri" panose="020F0502020204030204" pitchFamily="34" charset="0"/>
                        </a:rPr>
                        <a:t>HVR (</a:t>
                      </a:r>
                      <a:r>
                        <a:rPr lang="en-US" sz="1200" b="0" i="0" err="1">
                          <a:solidFill>
                            <a:schemeClr val="lt1"/>
                          </a:solidFill>
                          <a:effectLst/>
                          <a:latin typeface="+mn-lt"/>
                          <a:ea typeface="+mn-ea"/>
                          <a:cs typeface="+mn-cs"/>
                        </a:rPr>
                        <a:t>Fivetran</a:t>
                      </a:r>
                      <a:r>
                        <a:rPr lang="en-US" sz="1400" b="1" dirty="0">
                          <a:solidFill>
                            <a:schemeClr val="bg1"/>
                          </a:solidFill>
                          <a:effectLst/>
                          <a:latin typeface="+mj-lt"/>
                          <a:ea typeface="Calibri" panose="020F0502020204030204" pitchFamily="34" charset="0"/>
                        </a:rPr>
                        <a:t>)</a:t>
                      </a:r>
                      <a:endParaRPr lang="en-US" sz="1400" dirty="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dirty="0">
                          <a:solidFill>
                            <a:schemeClr val="bg1"/>
                          </a:solidFill>
                          <a:effectLst/>
                          <a:latin typeface="+mj-lt"/>
                          <a:ea typeface="Calibri" panose="020F0502020204030204" pitchFamily="34" charset="0"/>
                        </a:rPr>
                        <a:t>Qlik Replicate</a:t>
                      </a:r>
                      <a:r>
                        <a:rPr lang="en-US" sz="1200" b="1" dirty="0">
                          <a:solidFill>
                            <a:schemeClr val="lt1"/>
                          </a:solidFill>
                          <a:effectLst/>
                          <a:latin typeface="+mn-lt"/>
                          <a:ea typeface="+mn-ea"/>
                          <a:cs typeface="+mn-cs"/>
                        </a:rPr>
                        <a:t> </a:t>
                      </a:r>
                      <a:endParaRPr lang="en-US" sz="1400" dirty="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dirty="0">
                          <a:solidFill>
                            <a:schemeClr val="bg1"/>
                          </a:solidFill>
                          <a:effectLst/>
                          <a:latin typeface="+mj-lt"/>
                          <a:ea typeface="Calibri" panose="020F0502020204030204" pitchFamily="34" charset="0"/>
                          <a:cs typeface="+mn-cs"/>
                        </a:rPr>
                        <a:t>IBM infosphere CDC Data Replication</a:t>
                      </a:r>
                    </a:p>
                  </a:txBody>
                  <a:tcPr marL="68580" marR="68580" marT="0" marB="0"/>
                </a:tc>
                <a:extLst>
                  <a:ext uri="{0D108BD9-81ED-4DB2-BD59-A6C34878D82A}">
                    <a16:rowId xmlns:a16="http://schemas.microsoft.com/office/drawing/2014/main" val="163652521"/>
                  </a:ext>
                </a:extLst>
              </a:tr>
              <a:tr h="379355">
                <a:tc>
                  <a:txBody>
                    <a:bodyPr/>
                    <a:lstStyle/>
                    <a:p>
                      <a:pPr marL="0" lvl="0">
                        <a:spcBef>
                          <a:spcPts val="0"/>
                        </a:spcBef>
                        <a:spcAft>
                          <a:spcPts val="0"/>
                        </a:spcAft>
                        <a:buNone/>
                      </a:pPr>
                      <a:r>
                        <a:rPr lang="en-US" sz="1100" b="1" noProof="0" dirty="0">
                          <a:solidFill>
                            <a:schemeClr val="tx1">
                              <a:lumMod val="50000"/>
                            </a:schemeClr>
                          </a:solidFill>
                          <a:effectLst/>
                          <a:latin typeface="+mj-lt"/>
                          <a:cs typeface="+mn-cs"/>
                        </a:rPr>
                        <a:t>MVUs/RVUs </a:t>
                      </a:r>
                      <a:endParaRPr lang="en-US" sz="1100" b="1">
                        <a:solidFill>
                          <a:schemeClr val="tx1">
                            <a:lumMod val="50000"/>
                          </a:schemeClr>
                        </a:solidFill>
                        <a:effectLst/>
                        <a:latin typeface="+mj-lt"/>
                        <a:cs typeface="+mn-cs"/>
                      </a:endParaRPr>
                    </a:p>
                  </a:txBody>
                  <a:tcPr marL="68580" marR="68580" marT="0" marB="0"/>
                </a:tc>
                <a:tc>
                  <a:txBody>
                    <a:bodyPr/>
                    <a:lstStyle/>
                    <a:p>
                      <a:pPr marL="171450" lvl="1" indent="-171450" algn="l" defTabSz="914400">
                        <a:lnSpc>
                          <a:spcPct val="100000"/>
                        </a:lnSpc>
                        <a:spcBef>
                          <a:spcPts val="0"/>
                        </a:spcBef>
                        <a:spcAft>
                          <a:spcPts val="0"/>
                        </a:spcAft>
                        <a:buFont typeface="Arial"/>
                        <a:buChar char="•"/>
                        <a:tabLst/>
                        <a:defRPr/>
                      </a:pPr>
                      <a:r>
                        <a:rPr lang="en-US" sz="1100" b="0" i="0" u="none" strike="noStrike" kern="1200" spc="0" noProof="0" err="1">
                          <a:solidFill>
                            <a:schemeClr val="tx1">
                              <a:lumMod val="50000"/>
                            </a:schemeClr>
                          </a:solidFill>
                          <a:latin typeface="+mj-lt"/>
                          <a:ea typeface="+mn-ea"/>
                          <a:cs typeface="+mn-cs"/>
                        </a:rPr>
                        <a:t>tbd</a:t>
                      </a:r>
                    </a:p>
                  </a:txBody>
                  <a:tcPr marL="68580" marR="68580" marT="0" marB="0"/>
                </a:tc>
                <a:tc>
                  <a:txBody>
                    <a:bodyPr/>
                    <a:lstStyle/>
                    <a:p>
                      <a:pPr marL="171450" lvl="1" indent="-171450" algn="l">
                        <a:lnSpc>
                          <a:spcPct val="100000"/>
                        </a:lnSpc>
                        <a:spcBef>
                          <a:spcPts val="0"/>
                        </a:spcBef>
                        <a:spcAft>
                          <a:spcPts val="0"/>
                        </a:spcAft>
                        <a:buFont typeface="Arial"/>
                        <a:buChar char="•"/>
                      </a:pPr>
                      <a:r>
                        <a:rPr lang="en-US" sz="1100" b="0" i="0" u="none" strike="noStrike" kern="1200" spc="0" noProof="0" err="1">
                          <a:solidFill>
                            <a:schemeClr val="tx1">
                              <a:lumMod val="50000"/>
                            </a:schemeClr>
                          </a:solidFill>
                          <a:latin typeface="+mj-lt"/>
                          <a:ea typeface="+mn-ea"/>
                          <a:cs typeface="+mn-cs"/>
                        </a:rPr>
                        <a:t>tbd</a:t>
                      </a:r>
                    </a:p>
                  </a:txBody>
                  <a:tcPr marL="68580" marR="68580" marT="0" marB="0"/>
                </a:tc>
                <a:tc>
                  <a:txBody>
                    <a:bodyPr/>
                    <a:lstStyle/>
                    <a:p>
                      <a:pPr marL="171450" lvl="1" indent="-171450" algn="l" defTabSz="914400">
                        <a:lnSpc>
                          <a:spcPct val="100000"/>
                        </a:lnSpc>
                        <a:spcBef>
                          <a:spcPts val="0"/>
                        </a:spcBef>
                        <a:spcAft>
                          <a:spcPts val="0"/>
                        </a:spcAft>
                        <a:buFont typeface="Arial"/>
                        <a:buChar char="•"/>
                        <a:tabLst/>
                        <a:defRPr/>
                      </a:pPr>
                      <a:r>
                        <a:rPr lang="en-US" sz="1100" b="0" i="0" u="none" strike="noStrike" kern="1200" spc="0" noProof="0" err="1">
                          <a:solidFill>
                            <a:schemeClr val="tx1">
                              <a:lumMod val="50000"/>
                            </a:schemeClr>
                          </a:solidFill>
                          <a:latin typeface="+mn-lt"/>
                          <a:ea typeface="+mn-ea"/>
                          <a:cs typeface="+mn-cs"/>
                        </a:rPr>
                        <a:t>tbd</a:t>
                      </a:r>
                    </a:p>
                  </a:txBody>
                  <a:tcPr marL="68580" marR="68580" marT="0" marB="0"/>
                </a:tc>
                <a:extLst>
                  <a:ext uri="{0D108BD9-81ED-4DB2-BD59-A6C34878D82A}">
                    <a16:rowId xmlns:a16="http://schemas.microsoft.com/office/drawing/2014/main" val="4222057156"/>
                  </a:ext>
                </a:extLst>
              </a:tr>
              <a:tr h="524417">
                <a:tc>
                  <a:txBody>
                    <a:bodyPr/>
                    <a:lstStyle/>
                    <a:p>
                      <a:pPr marL="0" marR="0">
                        <a:spcBef>
                          <a:spcPts val="0"/>
                        </a:spcBef>
                        <a:spcAft>
                          <a:spcPts val="0"/>
                        </a:spcAft>
                      </a:pPr>
                      <a:r>
                        <a:rPr lang="en-US" sz="1100" dirty="0">
                          <a:solidFill>
                            <a:schemeClr val="tx1">
                              <a:lumMod val="50000"/>
                            </a:schemeClr>
                          </a:solidFill>
                          <a:effectLst/>
                          <a:latin typeface="+mj-lt"/>
                          <a:ea typeface="Calibri" panose="020F0502020204030204" pitchFamily="34" charset="0"/>
                        </a:rPr>
                        <a:t>Pro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Well experience in supporting CDC from DB2z to Snowflake</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DB2z transaction log-based CDC support</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Support for multiple replication patterns</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CDC Support for many range of systems and databases</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Agent install on the mainframe system is not required for </a:t>
                      </a:r>
                      <a:r>
                        <a:rPr lang="en-US" sz="1100" b="0" i="0" u="none" strike="noStrike" kern="1200" spc="0" noProof="0" dirty="0">
                          <a:solidFill>
                            <a:schemeClr val="tx1">
                              <a:lumMod val="50000"/>
                            </a:schemeClr>
                          </a:solidFill>
                          <a:latin typeface="+mj-lt"/>
                          <a:ea typeface="+mn-ea"/>
                          <a:cs typeface="+mn-cs"/>
                        </a:rPr>
                        <a:t>DB2z</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DB2z transaction log-based CDC support</a:t>
                      </a:r>
                    </a:p>
                    <a:p>
                      <a:pPr marL="171450" marR="0" lvl="1" indent="-171450" algn="l">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Arial"/>
                        </a:rPr>
                        <a:t>CDC Support for many range of systems and databases</a:t>
                      </a:r>
                      <a:endParaRPr lang="en-US" sz="1100" b="0" i="0" u="none" strike="noStrike" kern="1200" spc="0" noProof="0" dirty="0">
                        <a:solidFill>
                          <a:schemeClr val="tx1">
                            <a:lumMod val="50000"/>
                          </a:schemeClr>
                        </a:solidFill>
                        <a:latin typeface="+mj-lt"/>
                        <a:ea typeface="+mn-ea"/>
                        <a:cs typeface="+mn-cs"/>
                      </a:endParaRP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No additional cost for the separate targets databas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No additional cost for the any targets databas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Support for multiple replication pattern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n-lt"/>
                          <a:ea typeface="+mn-ea"/>
                          <a:cs typeface="+mn-cs"/>
                        </a:rPr>
                        <a:t>DB2z transaction log-based CDC support</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Arial"/>
                        </a:rPr>
                        <a:t>CDC Support for many range of systems and databases</a:t>
                      </a:r>
                      <a:endParaRPr lang="en-US" sz="1100" b="0" i="0" u="none" strike="noStrike" kern="1200" spc="0" noProof="0" dirty="0">
                        <a:solidFill>
                          <a:schemeClr val="tx1">
                            <a:lumMod val="50000"/>
                          </a:schemeClr>
                        </a:solidFill>
                        <a:latin typeface="+mn-lt"/>
                        <a:ea typeface="+mn-ea"/>
                        <a:cs typeface="+mn-cs"/>
                      </a:endParaRPr>
                    </a:p>
                  </a:txBody>
                  <a:tcPr marL="68580" marR="68580" marT="0" marB="0"/>
                </a:tc>
                <a:extLst>
                  <a:ext uri="{0D108BD9-81ED-4DB2-BD59-A6C34878D82A}">
                    <a16:rowId xmlns:a16="http://schemas.microsoft.com/office/drawing/2014/main" val="3343480495"/>
                  </a:ext>
                </a:extLst>
              </a:tr>
              <a:tr h="349611">
                <a:tc>
                  <a:txBody>
                    <a:bodyPr/>
                    <a:lstStyle/>
                    <a:p>
                      <a:pPr marL="0" marR="0">
                        <a:spcBef>
                          <a:spcPts val="0"/>
                        </a:spcBef>
                        <a:spcAft>
                          <a:spcPts val="0"/>
                        </a:spcAft>
                      </a:pPr>
                      <a:r>
                        <a:rPr lang="en-US" sz="1100" dirty="0">
                          <a:solidFill>
                            <a:schemeClr val="tx1">
                              <a:lumMod val="50000"/>
                            </a:schemeClr>
                          </a:solidFill>
                          <a:effectLst/>
                          <a:latin typeface="+mj-lt"/>
                          <a:ea typeface="Calibri" panose="020F0502020204030204" pitchFamily="34" charset="0"/>
                        </a:rPr>
                        <a:t>Cons</a:t>
                      </a:r>
                    </a:p>
                  </a:txBody>
                  <a:tcPr marL="68580" marR="68580" marT="0" marB="0"/>
                </a:tc>
                <a:tc>
                  <a:txBody>
                    <a:bodyPr/>
                    <a:lstStyle/>
                    <a:p>
                      <a:pPr marL="171450" marR="0" lvl="1" indent="-171450" algn="l" rtl="0" eaLnBrk="1" fontAlgn="base" latinLnBrk="0" hangingPunct="1">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Separate cost for both Reltio (data file) and Snowflake targets</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Require Unix/Linus server on DXC data center close to DB2 mainframe for agent</a:t>
                      </a:r>
                      <a:endParaRPr lang="en-US" sz="1100" b="0" i="0" u="none" strike="noStrike" kern="1200" spc="0" noProof="0" dirty="0">
                        <a:solidFill>
                          <a:schemeClr val="tx1">
                            <a:lumMod val="50000"/>
                          </a:schemeClr>
                        </a:solidFill>
                        <a:latin typeface="+mj-lt"/>
                        <a:ea typeface="+mn-ea"/>
                        <a:cs typeface="+mn-cs"/>
                      </a:endParaRP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No direct support for REST API</a:t>
                      </a:r>
                      <a:endParaRPr lang="en-US" sz="1100" b="0" i="0" u="none" strike="noStrike" kern="1200" spc="0" noProof="0" dirty="0">
                        <a:solidFill>
                          <a:schemeClr val="tx1">
                            <a:lumMod val="50000"/>
                          </a:schemeClr>
                        </a:solidFill>
                        <a:latin typeface="+mj-lt"/>
                        <a:ea typeface="+mn-ea"/>
                        <a:cs typeface="+mn-cs"/>
                      </a:endParaRP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Separate cost for both Reltio and Snowflake targets</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No support for MQ based CDC integration</a:t>
                      </a:r>
                    </a:p>
                    <a:p>
                      <a:pPr marL="171450" marR="0" lvl="1" indent="-171450" algn="l">
                        <a:lnSpc>
                          <a:spcPct val="100000"/>
                        </a:lnSpc>
                        <a:spcBef>
                          <a:spcPts val="0"/>
                        </a:spcBef>
                        <a:spcAft>
                          <a:spcPts val="0"/>
                        </a:spcAft>
                        <a:buClr>
                          <a:srgbClr val="55555A"/>
                        </a:buClr>
                        <a:buFont typeface="Arial,Sans-Serif" panose="020B0604020202020204" pitchFamily="34" charset="0"/>
                        <a:buChar char="•"/>
                      </a:pPr>
                      <a:r>
                        <a:rPr lang="en-US" sz="1100" b="0" i="0" u="none" strike="noStrike" kern="1200" spc="0" noProof="0">
                          <a:solidFill>
                            <a:schemeClr val="tx1">
                              <a:lumMod val="50000"/>
                            </a:schemeClr>
                          </a:solidFill>
                          <a:latin typeface="Arial"/>
                        </a:rPr>
                        <a:t>No direct support for REST API</a:t>
                      </a:r>
                      <a:endParaRPr lang="en-US" sz="1100" b="0" i="0" u="none" strike="noStrike" kern="1200" spc="0" noProof="0"/>
                    </a:p>
                  </a:txBody>
                  <a:tcPr marL="68580" marR="68580" marT="0" marB="0"/>
                </a:tc>
                <a:tc>
                  <a:txBody>
                    <a:bodyPr/>
                    <a:lstStyle/>
                    <a:p>
                      <a:pPr marL="171450" marR="0" indent="-171450">
                        <a:spcBef>
                          <a:spcPts val="0"/>
                        </a:spcBef>
                        <a:spcAft>
                          <a:spcPts val="0"/>
                        </a:spcAft>
                        <a:buFont typeface="Arial" panose="020B0604020202020204" pitchFamily="34" charset="0"/>
                        <a:buChar char="•"/>
                      </a:pPr>
                      <a:r>
                        <a:rPr lang="en-US" sz="1100" b="0" dirty="0">
                          <a:solidFill>
                            <a:schemeClr val="tx1">
                              <a:lumMod val="50000"/>
                            </a:schemeClr>
                          </a:solidFill>
                          <a:effectLst/>
                          <a:latin typeface="+mj-lt"/>
                          <a:ea typeface="Calibri" panose="020F0502020204030204" pitchFamily="34" charset="0"/>
                        </a:rPr>
                        <a:t>License cost is very high</a:t>
                      </a:r>
                    </a:p>
                    <a:p>
                      <a:pPr marL="171450" marR="0" indent="-171450">
                        <a:spcBef>
                          <a:spcPts val="0"/>
                        </a:spcBef>
                        <a:spcAft>
                          <a:spcPts val="0"/>
                        </a:spcAft>
                        <a:buFont typeface="Arial" panose="020B0604020202020204" pitchFamily="34" charset="0"/>
                        <a:buChar char="•"/>
                      </a:pPr>
                      <a:r>
                        <a:rPr lang="en-US" sz="1100" b="0" dirty="0">
                          <a:solidFill>
                            <a:schemeClr val="tx1">
                              <a:lumMod val="50000"/>
                            </a:schemeClr>
                          </a:solidFill>
                          <a:effectLst/>
                          <a:latin typeface="+mj-lt"/>
                          <a:ea typeface="Calibri" panose="020F0502020204030204" pitchFamily="34" charset="0"/>
                        </a:rPr>
                        <a:t>May required support from additional tools like Kafka or </a:t>
                      </a:r>
                      <a:r>
                        <a:rPr lang="en-US" sz="1100" b="0" err="1">
                          <a:solidFill>
                            <a:schemeClr val="tx1">
                              <a:lumMod val="50000"/>
                            </a:schemeClr>
                          </a:solidFill>
                          <a:effectLst/>
                          <a:latin typeface="+mj-lt"/>
                          <a:ea typeface="Calibri" panose="020F0502020204030204" pitchFamily="34" charset="0"/>
                        </a:rPr>
                        <a:t>SnowPipe</a:t>
                      </a:r>
                      <a:r>
                        <a:rPr lang="en-US" sz="1100" b="0" dirty="0">
                          <a:solidFill>
                            <a:schemeClr val="tx1">
                              <a:lumMod val="50000"/>
                            </a:schemeClr>
                          </a:solidFill>
                          <a:effectLst/>
                          <a:latin typeface="+mj-lt"/>
                          <a:ea typeface="Calibri" panose="020F0502020204030204" pitchFamily="34" charset="0"/>
                        </a:rPr>
                        <a:t> or ETL</a:t>
                      </a:r>
                    </a:p>
                    <a:p>
                      <a:pPr marL="171450" marR="0" lvl="1" indent="-171450" algn="l">
                        <a:lnSpc>
                          <a:spcPct val="100000"/>
                        </a:lnSpc>
                        <a:spcBef>
                          <a:spcPts val="0"/>
                        </a:spcBef>
                        <a:spcAft>
                          <a:spcPts val="0"/>
                        </a:spcAft>
                        <a:buClr>
                          <a:srgbClr val="55555A"/>
                        </a:buClr>
                        <a:buFont typeface="Arial,Sans-Serif" panose="020B0604020202020204" pitchFamily="34" charset="0"/>
                        <a:buChar char="•"/>
                      </a:pPr>
                      <a:r>
                        <a:rPr lang="en-US" sz="1100" b="0" i="0" u="none" strike="noStrike" noProof="0" dirty="0">
                          <a:solidFill>
                            <a:schemeClr val="tx1">
                              <a:lumMod val="50000"/>
                            </a:schemeClr>
                          </a:solidFill>
                          <a:effectLst/>
                          <a:latin typeface="Arial"/>
                        </a:rPr>
                        <a:t>No direct support for REST API</a:t>
                      </a:r>
                      <a:endParaRPr lang="en-US" sz="1100" b="0" i="0" u="none" strike="noStrike" noProof="0" dirty="0">
                        <a:effectLst/>
                      </a:endParaRPr>
                    </a:p>
                  </a:txBody>
                  <a:tcPr marL="68580" marR="68580" marT="0" marB="0"/>
                </a:tc>
                <a:extLst>
                  <a:ext uri="{0D108BD9-81ED-4DB2-BD59-A6C34878D82A}">
                    <a16:rowId xmlns:a16="http://schemas.microsoft.com/office/drawing/2014/main" val="1602825462"/>
                  </a:ext>
                </a:extLst>
              </a:tr>
            </a:tbl>
          </a:graphicData>
        </a:graphic>
      </p:graphicFrame>
    </p:spTree>
    <p:extLst>
      <p:ext uri="{BB962C8B-B14F-4D97-AF65-F5344CB8AC3E}">
        <p14:creationId xmlns:p14="http://schemas.microsoft.com/office/powerpoint/2010/main" val="3074420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Next Steps</a:t>
            </a:r>
          </a:p>
        </p:txBody>
      </p:sp>
      <p:sp>
        <p:nvSpPr>
          <p:cNvPr id="5" name="Rectangle 4">
            <a:extLst>
              <a:ext uri="{FF2B5EF4-FFF2-40B4-BE49-F238E27FC236}">
                <a16:creationId xmlns:a16="http://schemas.microsoft.com/office/drawing/2014/main" id="{E53697AD-4CB4-4638-8680-B13368387A01}"/>
              </a:ext>
            </a:extLst>
          </p:cNvPr>
          <p:cNvSpPr/>
          <p:nvPr/>
        </p:nvSpPr>
        <p:spPr>
          <a:xfrm>
            <a:off x="108102" y="575734"/>
            <a:ext cx="8927796" cy="2693045"/>
          </a:xfrm>
          <a:prstGeom prst="rect">
            <a:avLst/>
          </a:prstGeom>
        </p:spPr>
        <p:txBody>
          <a:bodyPr wrap="square" lIns="91440" tIns="45720" rIns="91440" bIns="45720" anchor="t">
            <a:spAutoFit/>
          </a:bodyPr>
          <a:lstStyle/>
          <a:p>
            <a:pPr marL="285750" lvl="1" indent="-285750">
              <a:buFont typeface="Arial" panose="020B0604020202020204" pitchFamily="34" charset="0"/>
              <a:buChar char="•"/>
            </a:pPr>
            <a:r>
              <a:rPr lang="en-US" b="0" dirty="0">
                <a:solidFill>
                  <a:srgbClr val="000000"/>
                </a:solidFill>
                <a:cs typeface="Arial"/>
              </a:rPr>
              <a:t>Live demo to showcase NG CDC use case with 3 selected vendors </a:t>
            </a:r>
            <a:r>
              <a:rPr lang="en-US" b="1">
                <a:solidFill>
                  <a:srgbClr val="000000"/>
                </a:solidFill>
                <a:cs typeface="Arial"/>
              </a:rPr>
              <a:t>–  Oct 14 </a:t>
            </a:r>
            <a:endParaRPr lang="en-US" b="1" dirty="0">
              <a:solidFill>
                <a:srgbClr val="000000"/>
              </a:solidFill>
              <a:cs typeface="Arial"/>
            </a:endParaRPr>
          </a:p>
          <a:p>
            <a:pPr marL="285750" lvl="1" indent="-285750">
              <a:buFont typeface="Arial" panose="020B0604020202020204" pitchFamily="34" charset="0"/>
              <a:buChar char="•"/>
            </a:pPr>
            <a:r>
              <a:rPr lang="en-US" b="0" dirty="0">
                <a:solidFill>
                  <a:srgbClr val="000000"/>
                </a:solidFill>
                <a:cs typeface="Arial"/>
              </a:rPr>
              <a:t>Based on the demo and initial cost estimate, select 2 finalist vendors </a:t>
            </a:r>
            <a:r>
              <a:rPr lang="en-US" b="1" dirty="0">
                <a:solidFill>
                  <a:srgbClr val="000000"/>
                </a:solidFill>
                <a:cs typeface="Arial"/>
              </a:rPr>
              <a:t>– Oct 15</a:t>
            </a:r>
          </a:p>
          <a:p>
            <a:pPr marL="285750" lvl="1" indent="-285750">
              <a:buFont typeface="Arial" panose="020B0604020202020204" pitchFamily="34" charset="0"/>
              <a:buChar char="•"/>
            </a:pPr>
            <a:r>
              <a:rPr lang="en-US" b="0">
                <a:solidFill>
                  <a:srgbClr val="000000"/>
                </a:solidFill>
                <a:cs typeface="Arial"/>
              </a:rPr>
              <a:t>Complete </a:t>
            </a:r>
            <a:r>
              <a:rPr lang="en-US">
                <a:solidFill>
                  <a:srgbClr val="000000"/>
                </a:solidFill>
                <a:cs typeface="Arial"/>
              </a:rPr>
              <a:t>initial</a:t>
            </a:r>
            <a:r>
              <a:rPr lang="en-US" b="0">
                <a:solidFill>
                  <a:srgbClr val="000000"/>
                </a:solidFill>
                <a:cs typeface="Arial"/>
              </a:rPr>
              <a:t> Base Security Review (BSR) of 2 finalist vendor products </a:t>
            </a:r>
            <a:r>
              <a:rPr lang="en-US" b="1" dirty="0">
                <a:solidFill>
                  <a:srgbClr val="000000"/>
                </a:solidFill>
                <a:cs typeface="Arial"/>
              </a:rPr>
              <a:t>– Oct 29</a:t>
            </a:r>
          </a:p>
          <a:p>
            <a:pPr marL="285750" lvl="1" indent="-285750">
              <a:buFont typeface="Arial" panose="020B0604020202020204" pitchFamily="34" charset="0"/>
              <a:buChar char="•"/>
            </a:pPr>
            <a:r>
              <a:rPr lang="en-US">
                <a:solidFill>
                  <a:srgbClr val="000000"/>
                </a:solidFill>
                <a:ea typeface="+mn-lt"/>
                <a:cs typeface="+mn-lt"/>
              </a:rPr>
              <a:t>Select a final vendor based on BSR ratings, user vote (based on demo), and TCO </a:t>
            </a:r>
            <a:r>
              <a:rPr lang="en-US" b="1">
                <a:solidFill>
                  <a:srgbClr val="000000"/>
                </a:solidFill>
                <a:ea typeface="+mn-lt"/>
                <a:cs typeface="+mn-lt"/>
              </a:rPr>
              <a:t>– Oct 29</a:t>
            </a:r>
            <a:endParaRPr lang="en-US" b="1" dirty="0">
              <a:solidFill>
                <a:srgbClr val="000000"/>
              </a:solidFill>
              <a:ea typeface="ＭＳ Ｐゴシック"/>
              <a:cs typeface="+mn-lt"/>
            </a:endParaRPr>
          </a:p>
          <a:p>
            <a:pPr marL="285750" lvl="1" indent="-285750">
              <a:buFont typeface="Arial" panose="020B0604020202020204" pitchFamily="34" charset="0"/>
              <a:buChar char="•"/>
            </a:pPr>
            <a:r>
              <a:rPr lang="en-US">
                <a:solidFill>
                  <a:srgbClr val="000000"/>
                </a:solidFill>
                <a:ea typeface="+mn-lt"/>
                <a:cs typeface="+mn-lt"/>
              </a:rPr>
              <a:t>Engage Procurement and commercial for the pricing and contract negotiation </a:t>
            </a:r>
            <a:r>
              <a:rPr lang="en-US" b="1">
                <a:solidFill>
                  <a:srgbClr val="000000"/>
                </a:solidFill>
                <a:ea typeface="+mn-lt"/>
                <a:cs typeface="+mn-lt"/>
              </a:rPr>
              <a:t>– Nov 11</a:t>
            </a:r>
            <a:endParaRPr lang="en-US" b="1">
              <a:solidFill>
                <a:srgbClr val="000000"/>
              </a:solidFill>
              <a:cs typeface="Arial"/>
            </a:endParaRPr>
          </a:p>
          <a:p>
            <a:pPr marL="285750" lvl="1" indent="-285750">
              <a:buFont typeface="Arial" panose="020B0604020202020204" pitchFamily="34" charset="0"/>
              <a:buChar char="•"/>
            </a:pPr>
            <a:r>
              <a:rPr lang="en-US">
                <a:solidFill>
                  <a:srgbClr val="000000"/>
                </a:solidFill>
                <a:cs typeface="Arial"/>
              </a:rPr>
              <a:t>Sign</a:t>
            </a:r>
            <a:r>
              <a:rPr lang="en-US" b="0">
                <a:solidFill>
                  <a:srgbClr val="000000"/>
                </a:solidFill>
                <a:cs typeface="Arial"/>
              </a:rPr>
              <a:t> contract </a:t>
            </a:r>
            <a:r>
              <a:rPr lang="en-US" b="1" dirty="0">
                <a:solidFill>
                  <a:srgbClr val="000000"/>
                </a:solidFill>
                <a:cs typeface="Arial"/>
              </a:rPr>
              <a:t>– Nov 11</a:t>
            </a:r>
          </a:p>
        </p:txBody>
      </p:sp>
    </p:spTree>
    <p:extLst>
      <p:ext uri="{BB962C8B-B14F-4D97-AF65-F5344CB8AC3E}">
        <p14:creationId xmlns:p14="http://schemas.microsoft.com/office/powerpoint/2010/main" val="1298117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omments xmlns="62125d39-ffaf-4468-be64-6c0b08a4da8b" xsi:nil="true"/>
    <SharedWithUsers xmlns="4f462164-6cf8-4bdc-adb1-ef6ce73e83e3">
      <UserInfo>
        <DisplayName>Sanchez, Alejandro</DisplayName>
        <AccountId>5152</AccountId>
        <AccountType/>
      </UserInfo>
      <UserInfo>
        <DisplayName>Tripathi, Bharat</DisplayName>
        <AccountId>1706</AccountId>
        <AccountType/>
      </UserInfo>
      <UserInfo>
        <DisplayName>Govindarajaloo, Akila</DisplayName>
        <AccountId>3185</AccountId>
        <AccountType/>
      </UserInfo>
      <UserInfo>
        <DisplayName>Sian, Delfin</DisplayName>
        <AccountId>144</AccountId>
        <AccountType/>
      </UserInfo>
      <UserInfo>
        <DisplayName>Patil, Amol</DisplayName>
        <AccountId>61</AccountId>
        <AccountType/>
      </UserInfo>
      <UserInfo>
        <DisplayName>Pascual, Ronald</DisplayName>
        <AccountId>2749</AccountId>
        <AccountType/>
      </UserInfo>
      <UserInfo>
        <DisplayName>Curran, Robert</DisplayName>
        <AccountId>2752</AccountId>
        <AccountType/>
      </UserInfo>
      <UserInfo>
        <DisplayName>Mcauley, Sean (Thomas)</DisplayName>
        <AccountId>3812</AccountId>
        <AccountType/>
      </UserInfo>
      <UserInfo>
        <DisplayName>Patel, Vishal</DisplayName>
        <AccountId>1797</AccountId>
        <AccountType/>
      </UserInfo>
      <UserInfo>
        <DisplayName>Kanashiro, Alex</DisplayName>
        <AccountId>3485</AccountId>
        <AccountType/>
      </UserInfo>
      <UserInfo>
        <DisplayName>Clinchot, Joseph J.</DisplayName>
        <AccountId>25</AccountId>
        <AccountType/>
      </UserInfo>
      <UserInfo>
        <DisplayName>Nandikonda, Kiranmai</DisplayName>
        <AccountId>583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A7D18160B784741979344997B58CE17" ma:contentTypeVersion="14" ma:contentTypeDescription="Create a new document." ma:contentTypeScope="" ma:versionID="98b28778d5dffec06d43f8cfe0d78f53">
  <xsd:schema xmlns:xsd="http://www.w3.org/2001/XMLSchema" xmlns:xs="http://www.w3.org/2001/XMLSchema" xmlns:p="http://schemas.microsoft.com/office/2006/metadata/properties" xmlns:ns2="62125d39-ffaf-4468-be64-6c0b08a4da8b" xmlns:ns3="4f462164-6cf8-4bdc-adb1-ef6ce73e83e3" targetNamespace="http://schemas.microsoft.com/office/2006/metadata/properties" ma:root="true" ma:fieldsID="69ad1f9e0310f3076355db974c06e137" ns2:_="" ns3:_="">
    <xsd:import namespace="62125d39-ffaf-4468-be64-6c0b08a4da8b"/>
    <xsd:import namespace="4f462164-6cf8-4bdc-adb1-ef6ce73e83e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Comme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125d39-ffaf-4468-be64-6c0b08a4da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Comments" ma:index="20" nillable="true" ma:displayName="Comments" ma:description="Document review and approval status " ma:format="Dropdown" ma:internalName="Comment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f462164-6cf8-4bdc-adb1-ef6ce73e83e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8EE5461-4101-49A9-A707-0A90845F1E43}">
  <ds:schemaRefs>
    <ds:schemaRef ds:uri="http://schemas.microsoft.com/sharepoint/v3/contenttype/forms"/>
  </ds:schemaRefs>
</ds:datastoreItem>
</file>

<file path=customXml/itemProps2.xml><?xml version="1.0" encoding="utf-8"?>
<ds:datastoreItem xmlns:ds="http://schemas.openxmlformats.org/officeDocument/2006/customXml" ds:itemID="{AD2C987D-4A47-4F11-8121-36694FAAAC40}">
  <ds:schemaRefs>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4f462164-6cf8-4bdc-adb1-ef6ce73e83e3"/>
    <ds:schemaRef ds:uri="http://purl.org/dc/dcmitype/"/>
    <ds:schemaRef ds:uri="http://purl.org/dc/elements/1.1/"/>
    <ds:schemaRef ds:uri="http://schemas.microsoft.com/office/2006/metadata/properties"/>
    <ds:schemaRef ds:uri="62125d39-ffaf-4468-be64-6c0b08a4da8b"/>
    <ds:schemaRef ds:uri="http://www.w3.org/XML/1998/namespace"/>
  </ds:schemaRefs>
</ds:datastoreItem>
</file>

<file path=customXml/itemProps3.xml><?xml version="1.0" encoding="utf-8"?>
<ds:datastoreItem xmlns:ds="http://schemas.openxmlformats.org/officeDocument/2006/customXml" ds:itemID="{D116ED21-9FAF-4C88-B9B5-A0F73D92BC18}">
  <ds:schemaRefs>
    <ds:schemaRef ds:uri="4f462164-6cf8-4bdc-adb1-ef6ce73e83e3"/>
    <ds:schemaRef ds:uri="62125d39-ffaf-4468-be64-6c0b08a4da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NG PowerPoint Template 16x9 2018</Template>
  <TotalTime>3041</TotalTime>
  <Words>3416</Words>
  <Application>Microsoft Office PowerPoint</Application>
  <PresentationFormat>On-screen Show (16:9)</PresentationFormat>
  <Paragraphs>435</Paragraphs>
  <Slides>16</Slides>
  <Notes>4</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NG_PPT_16x9_Generic_template-blue</vt:lpstr>
      <vt:lpstr>CSS/CRIS Change Data Capture (CDC) Options   DRAFT</vt:lpstr>
      <vt:lpstr>PowerPoint Presentation</vt:lpstr>
      <vt:lpstr>CSS Current State</vt:lpstr>
      <vt:lpstr>CRIS Current St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Thomson, Fraser</dc:creator>
  <cp:lastModifiedBy>Ajwaliya, Nishit</cp:lastModifiedBy>
  <cp:revision>124</cp:revision>
  <cp:lastPrinted>2018-08-10T07:16:05Z</cp:lastPrinted>
  <dcterms:created xsi:type="dcterms:W3CDTF">2018-09-19T13:44:21Z</dcterms:created>
  <dcterms:modified xsi:type="dcterms:W3CDTF">2021-10-06T14:3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0A7D18160B784741979344997B58CE17</vt:lpwstr>
  </property>
</Properties>
</file>